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92.xml" ContentType="application/vnd.openxmlformats-officedocument.presentationml.slideLayout+xml"/>
  <Override PartName="/ppt/theme/theme3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90" r:id="rId5"/>
    <p:sldMasterId id="2147483865" r:id="rId6"/>
  </p:sldMasterIdLst>
  <p:notesMasterIdLst>
    <p:notesMasterId r:id="rId25"/>
  </p:notesMasterIdLst>
  <p:sldIdLst>
    <p:sldId id="256" r:id="rId7"/>
    <p:sldId id="2146846981" r:id="rId8"/>
    <p:sldId id="2146847208" r:id="rId9"/>
    <p:sldId id="2146847673" r:id="rId10"/>
    <p:sldId id="2146847211" r:id="rId11"/>
    <p:sldId id="2146847213" r:id="rId12"/>
    <p:sldId id="2146847664" r:id="rId13"/>
    <p:sldId id="2146847668" r:id="rId14"/>
    <p:sldId id="2146847667" r:id="rId15"/>
    <p:sldId id="2146847671" r:id="rId16"/>
    <p:sldId id="2146847672" r:id="rId17"/>
    <p:sldId id="2146847204" r:id="rId18"/>
    <p:sldId id="2146847662" r:id="rId19"/>
    <p:sldId id="2146847675" r:id="rId20"/>
    <p:sldId id="2134807444" r:id="rId21"/>
    <p:sldId id="2146847210" r:id="rId22"/>
    <p:sldId id="2146847674" r:id="rId23"/>
    <p:sldId id="2146847670" r:id="rId24"/>
  </p:sldIdLst>
  <p:sldSz cx="12192000" cy="6858000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DDFDA97-0C97-6D43-A56D-D6BEFE87C497}" name="Siddhartha Paul" initials="" userId="S::Siddhartha.Paul@tatanexarc.com::0f6d2a28-7c6e-4106-a327-1058fe8b7c05" providerId="AD"/>
  <p188:author id="{B35B46B7-C95E-8CC6-8E1C-2F022E764D3F}" name="Anurag Dua" initials="AD" userId="S::Anurag.Dua@tatanexarc.com::84918ab4-1dcb-4c3e-9699-843658ef6ef5" providerId="AD"/>
  <p188:author id="{E18BF2D7-F547-0943-06FA-D4ACA0891E0E}" name="Vaibhav Suri" initials="VS" userId="S::v.suri@tatanexarc.com::c16d0cc3-a2f6-442c-9d30-433ac6c146c9" providerId="AD"/>
  <p188:author id="{54D5E9E0-33A6-774A-35B8-58BD067122DD}" name="Anurag Dua" initials="AD" userId="S::anurag.dua@tatanexarc.com::84918ab4-1dcb-4c3e-9699-843658ef6ef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epanshi Chaudhry" initials="DC" lastIdx="5" clrIdx="0">
    <p:extLst>
      <p:ext uri="{19B8F6BF-5375-455C-9EA6-DF929625EA0E}">
        <p15:presenceInfo xmlns:p15="http://schemas.microsoft.com/office/powerpoint/2012/main" userId="S::deepanshi.chaudhry@nexarc.in::14e31217-f6c3-4d55-9bbb-99338c52af6e" providerId="AD"/>
      </p:ext>
    </p:extLst>
  </p:cmAuthor>
  <p:cmAuthor id="2" name="Aditi Puri Batra" initials="AB" lastIdx="12" clrIdx="1">
    <p:extLst>
      <p:ext uri="{19B8F6BF-5375-455C-9EA6-DF929625EA0E}">
        <p15:presenceInfo xmlns:p15="http://schemas.microsoft.com/office/powerpoint/2012/main" userId="S::aditi.puri@nexarc.in::758d8203-435a-4837-8ea5-d43cf48105b6" providerId="AD"/>
      </p:ext>
    </p:extLst>
  </p:cmAuthor>
  <p:cmAuthor id="3" name="Harisankar Radhakrishnan" initials="HR" lastIdx="1" clrIdx="2">
    <p:extLst>
      <p:ext uri="{19B8F6BF-5375-455C-9EA6-DF929625EA0E}">
        <p15:presenceInfo xmlns:p15="http://schemas.microsoft.com/office/powerpoint/2012/main" userId="S::harisankar.radhakrishnan@nexarc.in::ea82c504-4261-4b40-bacb-7ba1c6b429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44BF3B"/>
    <a:srgbClr val="9769FF"/>
    <a:srgbClr val="6F2FFF"/>
    <a:srgbClr val="4800EA"/>
    <a:srgbClr val="580DFF"/>
    <a:srgbClr val="F2F2F2"/>
    <a:srgbClr val="EEE7FF"/>
    <a:srgbClr val="FEFAF8"/>
    <a:srgbClr val="A7E2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7A39222-948E-2B4E-8E24-A7ED56118C57}" v="1489" dt="2024-02-22T06:16:27.740"/>
    <p1510:client id="{C15EC1BA-EE25-4672-92A2-9249CEBF869C}" v="7885" dt="2024-02-22T11:59:48.6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epak Varier" userId="2860755c-ad16-4a65-bf71-bda1c04afae1" providerId="ADAL" clId="{B7A39222-948E-2B4E-8E24-A7ED56118C57}"/>
    <pc:docChg chg="undo custSel addSld delSld modSld sldOrd">
      <pc:chgData name="Deepak Varier" userId="2860755c-ad16-4a65-bf71-bda1c04afae1" providerId="ADAL" clId="{B7A39222-948E-2B4E-8E24-A7ED56118C57}" dt="2024-02-22T06:16:27.740" v="1487" actId="20578"/>
      <pc:docMkLst>
        <pc:docMk/>
      </pc:docMkLst>
      <pc:sldChg chg="addSp delSp modSp mod">
        <pc:chgData name="Deepak Varier" userId="2860755c-ad16-4a65-bf71-bda1c04afae1" providerId="ADAL" clId="{B7A39222-948E-2B4E-8E24-A7ED56118C57}" dt="2024-02-21T05:56:10.824" v="119" actId="1076"/>
        <pc:sldMkLst>
          <pc:docMk/>
          <pc:sldMk cId="3606585520" sldId="2145709874"/>
        </pc:sldMkLst>
        <pc:spChg chg="add del mod">
          <ac:chgData name="Deepak Varier" userId="2860755c-ad16-4a65-bf71-bda1c04afae1" providerId="ADAL" clId="{B7A39222-948E-2B4E-8E24-A7ED56118C57}" dt="2024-02-21T05:56:01.960" v="115" actId="478"/>
          <ac:spMkLst>
            <pc:docMk/>
            <pc:sldMk cId="3606585520" sldId="2145709874"/>
            <ac:spMk id="5" creationId="{55C6DE0F-292F-F508-0C0C-4077CE3AAD9B}"/>
          </ac:spMkLst>
        </pc:spChg>
        <pc:spChg chg="add del mod">
          <ac:chgData name="Deepak Varier" userId="2860755c-ad16-4a65-bf71-bda1c04afae1" providerId="ADAL" clId="{B7A39222-948E-2B4E-8E24-A7ED56118C57}" dt="2024-02-21T05:56:04.395" v="116" actId="478"/>
          <ac:spMkLst>
            <pc:docMk/>
            <pc:sldMk cId="3606585520" sldId="2145709874"/>
            <ac:spMk id="6" creationId="{BC42571C-0AEA-0311-1F65-10169337E574}"/>
          </ac:spMkLst>
        </pc:spChg>
        <pc:spChg chg="add mod">
          <ac:chgData name="Deepak Varier" userId="2860755c-ad16-4a65-bf71-bda1c04afae1" providerId="ADAL" clId="{B7A39222-948E-2B4E-8E24-A7ED56118C57}" dt="2024-02-21T05:56:10.824" v="119" actId="1076"/>
          <ac:spMkLst>
            <pc:docMk/>
            <pc:sldMk cId="3606585520" sldId="2145709874"/>
            <ac:spMk id="11" creationId="{30E78B0A-EE00-9E52-5AC6-5040008A3F41}"/>
          </ac:spMkLst>
        </pc:spChg>
        <pc:picChg chg="add del mod">
          <ac:chgData name="Deepak Varier" userId="2860755c-ad16-4a65-bf71-bda1c04afae1" providerId="ADAL" clId="{B7A39222-948E-2B4E-8E24-A7ED56118C57}" dt="2024-02-21T05:56:06.370" v="117" actId="478"/>
          <ac:picMkLst>
            <pc:docMk/>
            <pc:sldMk cId="3606585520" sldId="2145709874"/>
            <ac:picMk id="4" creationId="{1325737F-9AFE-5989-C3EE-C065E48066F7}"/>
          </ac:picMkLst>
        </pc:picChg>
        <pc:picChg chg="add del mod">
          <ac:chgData name="Deepak Varier" userId="2860755c-ad16-4a65-bf71-bda1c04afae1" providerId="ADAL" clId="{B7A39222-948E-2B4E-8E24-A7ED56118C57}" dt="2024-02-21T05:25:23.583" v="50" actId="478"/>
          <ac:picMkLst>
            <pc:docMk/>
            <pc:sldMk cId="3606585520" sldId="2145709874"/>
            <ac:picMk id="7" creationId="{50121B76-9EBE-3DB9-E614-609B3E6E9BD5}"/>
          </ac:picMkLst>
        </pc:picChg>
        <pc:picChg chg="add mod">
          <ac:chgData name="Deepak Varier" userId="2860755c-ad16-4a65-bf71-bda1c04afae1" providerId="ADAL" clId="{B7A39222-948E-2B4E-8E24-A7ED56118C57}" dt="2024-02-21T05:25:28.249" v="52" actId="1076"/>
          <ac:picMkLst>
            <pc:docMk/>
            <pc:sldMk cId="3606585520" sldId="2145709874"/>
            <ac:picMk id="9" creationId="{0ACE0665-0F38-78E7-0F1B-5B7391D7CC5A}"/>
          </ac:picMkLst>
        </pc:picChg>
        <pc:picChg chg="add mod">
          <ac:chgData name="Deepak Varier" userId="2860755c-ad16-4a65-bf71-bda1c04afae1" providerId="ADAL" clId="{B7A39222-948E-2B4E-8E24-A7ED56118C57}" dt="2024-02-21T05:21:55.815" v="31" actId="1076"/>
          <ac:picMkLst>
            <pc:docMk/>
            <pc:sldMk cId="3606585520" sldId="2145709874"/>
            <ac:picMk id="2050" creationId="{F1DEFA35-E653-6C41-5C19-F3A145D7ED66}"/>
          </ac:picMkLst>
        </pc:picChg>
      </pc:sldChg>
      <pc:sldChg chg="modNotesTx">
        <pc:chgData name="Deepak Varier" userId="2860755c-ad16-4a65-bf71-bda1c04afae1" providerId="ADAL" clId="{B7A39222-948E-2B4E-8E24-A7ED56118C57}" dt="2024-02-21T08:27:28.253" v="698" actId="113"/>
        <pc:sldMkLst>
          <pc:docMk/>
          <pc:sldMk cId="548198184" sldId="2146847204"/>
        </pc:sldMkLst>
      </pc:sldChg>
      <pc:sldChg chg="modSp mod ord">
        <pc:chgData name="Deepak Varier" userId="2860755c-ad16-4a65-bf71-bda1c04afae1" providerId="ADAL" clId="{B7A39222-948E-2B4E-8E24-A7ED56118C57}" dt="2024-02-22T05:42:52.401" v="1481" actId="20577"/>
        <pc:sldMkLst>
          <pc:docMk/>
          <pc:sldMk cId="952818648" sldId="2146847208"/>
        </pc:sldMkLst>
        <pc:spChg chg="mod">
          <ac:chgData name="Deepak Varier" userId="2860755c-ad16-4a65-bf71-bda1c04afae1" providerId="ADAL" clId="{B7A39222-948E-2B4E-8E24-A7ED56118C57}" dt="2024-02-22T05:42:52.401" v="1481" actId="20577"/>
          <ac:spMkLst>
            <pc:docMk/>
            <pc:sldMk cId="952818648" sldId="2146847208"/>
            <ac:spMk id="5" creationId="{1C337CAB-7AB9-9112-6D24-07E5E1038366}"/>
          </ac:spMkLst>
        </pc:spChg>
        <pc:spChg chg="mod">
          <ac:chgData name="Deepak Varier" userId="2860755c-ad16-4a65-bf71-bda1c04afae1" providerId="ADAL" clId="{B7A39222-948E-2B4E-8E24-A7ED56118C57}" dt="2024-02-22T03:52:53.233" v="702" actId="20577"/>
          <ac:spMkLst>
            <pc:docMk/>
            <pc:sldMk cId="952818648" sldId="2146847208"/>
            <ac:spMk id="12" creationId="{81AF1D09-5C53-5618-D3EE-4BA63337A2D7}"/>
          </ac:spMkLst>
        </pc:spChg>
        <pc:spChg chg="mod">
          <ac:chgData name="Deepak Varier" userId="2860755c-ad16-4a65-bf71-bda1c04afae1" providerId="ADAL" clId="{B7A39222-948E-2B4E-8E24-A7ED56118C57}" dt="2024-02-21T07:45:12.535" v="548" actId="1076"/>
          <ac:spMkLst>
            <pc:docMk/>
            <pc:sldMk cId="952818648" sldId="2146847208"/>
            <ac:spMk id="2154" creationId="{5E798D27-111A-753C-69FF-C2D7A8C7E44A}"/>
          </ac:spMkLst>
        </pc:spChg>
        <pc:spChg chg="mod">
          <ac:chgData name="Deepak Varier" userId="2860755c-ad16-4a65-bf71-bda1c04afae1" providerId="ADAL" clId="{B7A39222-948E-2B4E-8E24-A7ED56118C57}" dt="2024-02-21T07:43:32.599" v="540" actId="20577"/>
          <ac:spMkLst>
            <pc:docMk/>
            <pc:sldMk cId="952818648" sldId="2146847208"/>
            <ac:spMk id="2158" creationId="{C98FD8BC-EBFB-5900-EB85-0C4C118C96F5}"/>
          </ac:spMkLst>
        </pc:spChg>
      </pc:sldChg>
      <pc:sldChg chg="modSp">
        <pc:chgData name="Deepak Varier" userId="2860755c-ad16-4a65-bf71-bda1c04afae1" providerId="ADAL" clId="{B7A39222-948E-2B4E-8E24-A7ED56118C57}" dt="2024-02-21T08:02:37.458" v="682" actId="20577"/>
        <pc:sldMkLst>
          <pc:docMk/>
          <pc:sldMk cId="3774946950" sldId="2146847210"/>
        </pc:sldMkLst>
        <pc:spChg chg="mod">
          <ac:chgData name="Deepak Varier" userId="2860755c-ad16-4a65-bf71-bda1c04afae1" providerId="ADAL" clId="{B7A39222-948E-2B4E-8E24-A7ED56118C57}" dt="2024-02-21T08:02:37.458" v="682" actId="20577"/>
          <ac:spMkLst>
            <pc:docMk/>
            <pc:sldMk cId="3774946950" sldId="2146847210"/>
            <ac:spMk id="2311" creationId="{CDD2BD4E-3900-9CD9-636A-C2E9F372AA7E}"/>
          </ac:spMkLst>
        </pc:spChg>
      </pc:sldChg>
      <pc:sldChg chg="ord">
        <pc:chgData name="Deepak Varier" userId="2860755c-ad16-4a65-bf71-bda1c04afae1" providerId="ADAL" clId="{B7A39222-948E-2B4E-8E24-A7ED56118C57}" dt="2024-02-22T06:16:27.740" v="1487" actId="20578"/>
        <pc:sldMkLst>
          <pc:docMk/>
          <pc:sldMk cId="867037587" sldId="2146847211"/>
        </pc:sldMkLst>
      </pc:sldChg>
      <pc:sldChg chg="addSp delSp modSp mod">
        <pc:chgData name="Deepak Varier" userId="2860755c-ad16-4a65-bf71-bda1c04afae1" providerId="ADAL" clId="{B7A39222-948E-2B4E-8E24-A7ED56118C57}" dt="2024-02-22T06:14:43.839" v="1486"/>
        <pc:sldMkLst>
          <pc:docMk/>
          <pc:sldMk cId="2903802295" sldId="2146847213"/>
        </pc:sldMkLst>
        <pc:spChg chg="add del mod">
          <ac:chgData name="Deepak Varier" userId="2860755c-ad16-4a65-bf71-bda1c04afae1" providerId="ADAL" clId="{B7A39222-948E-2B4E-8E24-A7ED56118C57}" dt="2024-02-22T06:14:43.839" v="1486"/>
          <ac:spMkLst>
            <pc:docMk/>
            <pc:sldMk cId="2903802295" sldId="2146847213"/>
            <ac:spMk id="10" creationId="{5145D0D5-0712-DEEA-E02F-86C983C3DB42}"/>
          </ac:spMkLst>
        </pc:spChg>
        <pc:picChg chg="add mod">
          <ac:chgData name="Deepak Varier" userId="2860755c-ad16-4a65-bf71-bda1c04afae1" providerId="ADAL" clId="{B7A39222-948E-2B4E-8E24-A7ED56118C57}" dt="2024-02-21T05:04:28.970" v="20" actId="1076"/>
          <ac:picMkLst>
            <pc:docMk/>
            <pc:sldMk cId="2903802295" sldId="2146847213"/>
            <ac:picMk id="2" creationId="{E626C4AD-912E-A29B-0A22-8F1EBE782DD4}"/>
          </ac:picMkLst>
        </pc:picChg>
        <pc:picChg chg="del">
          <ac:chgData name="Deepak Varier" userId="2860755c-ad16-4a65-bf71-bda1c04afae1" providerId="ADAL" clId="{B7A39222-948E-2B4E-8E24-A7ED56118C57}" dt="2024-02-21T05:04:25.202" v="18" actId="478"/>
          <ac:picMkLst>
            <pc:docMk/>
            <pc:sldMk cId="2903802295" sldId="2146847213"/>
            <ac:picMk id="3" creationId="{1C3BC59C-B069-28F7-CA7D-1AF7B0708C38}"/>
          </ac:picMkLst>
        </pc:picChg>
      </pc:sldChg>
      <pc:sldChg chg="addSp delSp modSp mod modClrScheme chgLayout">
        <pc:chgData name="Deepak Varier" userId="2860755c-ad16-4a65-bf71-bda1c04afae1" providerId="ADAL" clId="{B7A39222-948E-2B4E-8E24-A7ED56118C57}" dt="2024-02-21T05:57:44.346" v="162" actId="20577"/>
        <pc:sldMkLst>
          <pc:docMk/>
          <pc:sldMk cId="2701452848" sldId="2146847214"/>
        </pc:sldMkLst>
        <pc:spChg chg="add mod">
          <ac:chgData name="Deepak Varier" userId="2860755c-ad16-4a65-bf71-bda1c04afae1" providerId="ADAL" clId="{B7A39222-948E-2B4E-8E24-A7ED56118C57}" dt="2024-02-21T05:57:44.346" v="162" actId="20577"/>
          <ac:spMkLst>
            <pc:docMk/>
            <pc:sldMk cId="2701452848" sldId="2146847214"/>
            <ac:spMk id="2" creationId="{12D0F80D-E64A-49ED-94C6-3847614CAEE1}"/>
          </ac:spMkLst>
        </pc:spChg>
        <pc:spChg chg="mod">
          <ac:chgData name="Deepak Varier" userId="2860755c-ad16-4a65-bf71-bda1c04afae1" providerId="ADAL" clId="{B7A39222-948E-2B4E-8E24-A7ED56118C57}" dt="2024-02-21T05:15:04.221" v="25" actId="26606"/>
          <ac:spMkLst>
            <pc:docMk/>
            <pc:sldMk cId="2701452848" sldId="2146847214"/>
            <ac:spMk id="7" creationId="{238D0DE0-522F-29B0-8202-964439F707B1}"/>
          </ac:spMkLst>
        </pc:spChg>
        <pc:spChg chg="add del mod">
          <ac:chgData name="Deepak Varier" userId="2860755c-ad16-4a65-bf71-bda1c04afae1" providerId="ADAL" clId="{B7A39222-948E-2B4E-8E24-A7ED56118C57}" dt="2024-02-21T05:15:04.219" v="24" actId="26606"/>
          <ac:spMkLst>
            <pc:docMk/>
            <pc:sldMk cId="2701452848" sldId="2146847214"/>
            <ac:spMk id="1031" creationId="{885D58B4-DF5B-18AF-84AC-D62704B2615E}"/>
          </ac:spMkLst>
        </pc:spChg>
        <pc:picChg chg="add del mod">
          <ac:chgData name="Deepak Varier" userId="2860755c-ad16-4a65-bf71-bda1c04afae1" providerId="ADAL" clId="{B7A39222-948E-2B4E-8E24-A7ED56118C57}" dt="2024-02-21T05:15:12.266" v="26" actId="478"/>
          <ac:picMkLst>
            <pc:docMk/>
            <pc:sldMk cId="2701452848" sldId="2146847214"/>
            <ac:picMk id="1026" creationId="{03993338-D0C6-11EA-1C59-7B29A13F4633}"/>
          </ac:picMkLst>
        </pc:picChg>
        <pc:picChg chg="add mod">
          <ac:chgData name="Deepak Varier" userId="2860755c-ad16-4a65-bf71-bda1c04afae1" providerId="ADAL" clId="{B7A39222-948E-2B4E-8E24-A7ED56118C57}" dt="2024-02-21T05:15:20.199" v="28" actId="14100"/>
          <ac:picMkLst>
            <pc:docMk/>
            <pc:sldMk cId="2701452848" sldId="2146847214"/>
            <ac:picMk id="1028" creationId="{1FC6B1A7-FCFE-1D94-F29C-2E0DD31022B9}"/>
          </ac:picMkLst>
        </pc:picChg>
      </pc:sldChg>
      <pc:sldChg chg="addSp modSp mod">
        <pc:chgData name="Deepak Varier" userId="2860755c-ad16-4a65-bf71-bda1c04afae1" providerId="ADAL" clId="{B7A39222-948E-2B4E-8E24-A7ED56118C57}" dt="2024-02-22T04:57:25.992" v="1052" actId="108"/>
        <pc:sldMkLst>
          <pc:docMk/>
          <pc:sldMk cId="4187236008" sldId="2146847662"/>
        </pc:sldMkLst>
        <pc:spChg chg="add mod">
          <ac:chgData name="Deepak Varier" userId="2860755c-ad16-4a65-bf71-bda1c04afae1" providerId="ADAL" clId="{B7A39222-948E-2B4E-8E24-A7ED56118C57}" dt="2024-02-22T04:57:25.992" v="1052" actId="108"/>
          <ac:spMkLst>
            <pc:docMk/>
            <pc:sldMk cId="4187236008" sldId="2146847662"/>
            <ac:spMk id="16" creationId="{97136523-E7F1-3346-2937-621B3FA12332}"/>
          </ac:spMkLst>
        </pc:spChg>
        <pc:spChg chg="mod">
          <ac:chgData name="Deepak Varier" userId="2860755c-ad16-4a65-bf71-bda1c04afae1" providerId="ADAL" clId="{B7A39222-948E-2B4E-8E24-A7ED56118C57}" dt="2024-02-22T04:40:31.628" v="858" actId="20577"/>
          <ac:spMkLst>
            <pc:docMk/>
            <pc:sldMk cId="4187236008" sldId="2146847662"/>
            <ac:spMk id="42" creationId="{AAAD5BCB-3AE2-2E01-6FDB-CC96BD119124}"/>
          </ac:spMkLst>
        </pc:spChg>
        <pc:spChg chg="mod">
          <ac:chgData name="Deepak Varier" userId="2860755c-ad16-4a65-bf71-bda1c04afae1" providerId="ADAL" clId="{B7A39222-948E-2B4E-8E24-A7ED56118C57}" dt="2024-02-22T04:36:33.238" v="811" actId="108"/>
          <ac:spMkLst>
            <pc:docMk/>
            <pc:sldMk cId="4187236008" sldId="2146847662"/>
            <ac:spMk id="43" creationId="{252B6A0A-CB92-A9CF-F52D-7EBA4D3B0DE5}"/>
          </ac:spMkLst>
        </pc:spChg>
        <pc:spChg chg="mod">
          <ac:chgData name="Deepak Varier" userId="2860755c-ad16-4a65-bf71-bda1c04afae1" providerId="ADAL" clId="{B7A39222-948E-2B4E-8E24-A7ED56118C57}" dt="2024-02-22T04:37:48.814" v="832" actId="14100"/>
          <ac:spMkLst>
            <pc:docMk/>
            <pc:sldMk cId="4187236008" sldId="2146847662"/>
            <ac:spMk id="44" creationId="{8677EF50-DEDD-E887-6CE1-39C040F5D727}"/>
          </ac:spMkLst>
        </pc:spChg>
        <pc:spChg chg="mod">
          <ac:chgData name="Deepak Varier" userId="2860755c-ad16-4a65-bf71-bda1c04afae1" providerId="ADAL" clId="{B7A39222-948E-2B4E-8E24-A7ED56118C57}" dt="2024-02-22T04:40:18.626" v="851" actId="14100"/>
          <ac:spMkLst>
            <pc:docMk/>
            <pc:sldMk cId="4187236008" sldId="2146847662"/>
            <ac:spMk id="45" creationId="{180BCFC7-3155-D3EF-46B3-3B30466F7E16}"/>
          </ac:spMkLst>
        </pc:spChg>
        <pc:spChg chg="mod">
          <ac:chgData name="Deepak Varier" userId="2860755c-ad16-4a65-bf71-bda1c04afae1" providerId="ADAL" clId="{B7A39222-948E-2B4E-8E24-A7ED56118C57}" dt="2024-02-22T04:49:47.059" v="969" actId="20577"/>
          <ac:spMkLst>
            <pc:docMk/>
            <pc:sldMk cId="4187236008" sldId="2146847662"/>
            <ac:spMk id="47" creationId="{4BDC7CEB-29A2-2105-0B53-4B75D713AE6F}"/>
          </ac:spMkLst>
        </pc:spChg>
        <pc:spChg chg="mod">
          <ac:chgData name="Deepak Varier" userId="2860755c-ad16-4a65-bf71-bda1c04afae1" providerId="ADAL" clId="{B7A39222-948E-2B4E-8E24-A7ED56118C57}" dt="2024-02-22T04:42:37.855" v="910" actId="20577"/>
          <ac:spMkLst>
            <pc:docMk/>
            <pc:sldMk cId="4187236008" sldId="2146847662"/>
            <ac:spMk id="48" creationId="{555B9486-D182-05EE-AB38-12355D4D8B27}"/>
          </ac:spMkLst>
        </pc:spChg>
        <pc:spChg chg="mod">
          <ac:chgData name="Deepak Varier" userId="2860755c-ad16-4a65-bf71-bda1c04afae1" providerId="ADAL" clId="{B7A39222-948E-2B4E-8E24-A7ED56118C57}" dt="2024-02-22T04:50:42.994" v="980"/>
          <ac:spMkLst>
            <pc:docMk/>
            <pc:sldMk cId="4187236008" sldId="2146847662"/>
            <ac:spMk id="49" creationId="{A944723B-8311-15D4-0A59-0EA9D9540C36}"/>
          </ac:spMkLst>
        </pc:spChg>
        <pc:spChg chg="mod">
          <ac:chgData name="Deepak Varier" userId="2860755c-ad16-4a65-bf71-bda1c04afae1" providerId="ADAL" clId="{B7A39222-948E-2B4E-8E24-A7ED56118C57}" dt="2024-02-22T04:53:02.646" v="986" actId="20577"/>
          <ac:spMkLst>
            <pc:docMk/>
            <pc:sldMk cId="4187236008" sldId="2146847662"/>
            <ac:spMk id="50" creationId="{FAFC66DE-CFF6-531D-D4D0-53C990D04DA3}"/>
          </ac:spMkLst>
        </pc:spChg>
      </pc:sldChg>
      <pc:sldChg chg="addSp delSp modSp add mod">
        <pc:chgData name="Deepak Varier" userId="2860755c-ad16-4a65-bf71-bda1c04afae1" providerId="ADAL" clId="{B7A39222-948E-2B4E-8E24-A7ED56118C57}" dt="2024-02-21T05:24:38.198" v="46" actId="21"/>
        <pc:sldMkLst>
          <pc:docMk/>
          <pc:sldMk cId="2062242351" sldId="2146847663"/>
        </pc:sldMkLst>
        <pc:picChg chg="add del mod">
          <ac:chgData name="Deepak Varier" userId="2860755c-ad16-4a65-bf71-bda1c04afae1" providerId="ADAL" clId="{B7A39222-948E-2B4E-8E24-A7ED56118C57}" dt="2024-02-21T05:24:38.198" v="46" actId="21"/>
          <ac:picMkLst>
            <pc:docMk/>
            <pc:sldMk cId="2062242351" sldId="2146847663"/>
            <ac:picMk id="3" creationId="{E3ACFCE0-81F5-FB18-B415-DD9FFED179A1}"/>
          </ac:picMkLst>
        </pc:picChg>
        <pc:picChg chg="del">
          <ac:chgData name="Deepak Varier" userId="2860755c-ad16-4a65-bf71-bda1c04afae1" providerId="ADAL" clId="{B7A39222-948E-2B4E-8E24-A7ED56118C57}" dt="2024-02-21T05:22:23.514" v="33" actId="478"/>
          <ac:picMkLst>
            <pc:docMk/>
            <pc:sldMk cId="2062242351" sldId="2146847663"/>
            <ac:picMk id="1028" creationId="{A9F56062-E548-9AF3-B411-2411D0AE933C}"/>
          </ac:picMkLst>
        </pc:picChg>
        <pc:picChg chg="add mod">
          <ac:chgData name="Deepak Varier" userId="2860755c-ad16-4a65-bf71-bda1c04afae1" providerId="ADAL" clId="{B7A39222-948E-2B4E-8E24-A7ED56118C57}" dt="2024-02-21T05:23:20.861" v="42" actId="1076"/>
          <ac:picMkLst>
            <pc:docMk/>
            <pc:sldMk cId="2062242351" sldId="2146847663"/>
            <ac:picMk id="4098" creationId="{AA498E87-E11C-9D6D-C6DF-626D8B3990A8}"/>
          </ac:picMkLst>
        </pc:picChg>
        <pc:picChg chg="add mod">
          <ac:chgData name="Deepak Varier" userId="2860755c-ad16-4a65-bf71-bda1c04afae1" providerId="ADAL" clId="{B7A39222-948E-2B4E-8E24-A7ED56118C57}" dt="2024-02-21T05:23:15.477" v="40" actId="1076"/>
          <ac:picMkLst>
            <pc:docMk/>
            <pc:sldMk cId="2062242351" sldId="2146847663"/>
            <ac:picMk id="4100" creationId="{3379C715-0E44-201E-EEC2-CEDDF4AFB747}"/>
          </ac:picMkLst>
        </pc:picChg>
      </pc:sldChg>
      <pc:sldChg chg="add">
        <pc:chgData name="Deepak Varier" userId="2860755c-ad16-4a65-bf71-bda1c04afae1" providerId="ADAL" clId="{B7A39222-948E-2B4E-8E24-A7ED56118C57}" dt="2024-02-21T05:55:56.956" v="114" actId="2890"/>
        <pc:sldMkLst>
          <pc:docMk/>
          <pc:sldMk cId="3856655450" sldId="2146847666"/>
        </pc:sldMkLst>
      </pc:sldChg>
      <pc:sldChg chg="modSp mod">
        <pc:chgData name="Deepak Varier" userId="2860755c-ad16-4a65-bf71-bda1c04afae1" providerId="ADAL" clId="{B7A39222-948E-2B4E-8E24-A7ED56118C57}" dt="2024-02-22T03:53:38.419" v="703" actId="20577"/>
        <pc:sldMkLst>
          <pc:docMk/>
          <pc:sldMk cId="3666003372" sldId="2146847667"/>
        </pc:sldMkLst>
        <pc:spChg chg="mod">
          <ac:chgData name="Deepak Varier" userId="2860755c-ad16-4a65-bf71-bda1c04afae1" providerId="ADAL" clId="{B7A39222-948E-2B4E-8E24-A7ED56118C57}" dt="2024-02-22T03:53:38.419" v="703" actId="20577"/>
          <ac:spMkLst>
            <pc:docMk/>
            <pc:sldMk cId="3666003372" sldId="2146847667"/>
            <ac:spMk id="5" creationId="{EB6620F3-097D-3613-53A4-2ED7A0BE74DE}"/>
          </ac:spMkLst>
        </pc:spChg>
        <pc:spChg chg="mod">
          <ac:chgData name="Deepak Varier" userId="2860755c-ad16-4a65-bf71-bda1c04afae1" providerId="ADAL" clId="{B7A39222-948E-2B4E-8E24-A7ED56118C57}" dt="2024-02-21T06:57:51.595" v="169" actId="20577"/>
          <ac:spMkLst>
            <pc:docMk/>
            <pc:sldMk cId="3666003372" sldId="2146847667"/>
            <ac:spMk id="8" creationId="{678E9521-1B1E-40FC-8985-106E34889E9A}"/>
          </ac:spMkLst>
        </pc:spChg>
      </pc:sldChg>
      <pc:sldChg chg="addSp modSp mod">
        <pc:chgData name="Deepak Varier" userId="2860755c-ad16-4a65-bf71-bda1c04afae1" providerId="ADAL" clId="{B7A39222-948E-2B4E-8E24-A7ED56118C57}" dt="2024-02-21T06:14:10.681" v="165" actId="22"/>
        <pc:sldMkLst>
          <pc:docMk/>
          <pc:sldMk cId="4030650752" sldId="2146847668"/>
        </pc:sldMkLst>
        <pc:spChg chg="add">
          <ac:chgData name="Deepak Varier" userId="2860755c-ad16-4a65-bf71-bda1c04afae1" providerId="ADAL" clId="{B7A39222-948E-2B4E-8E24-A7ED56118C57}" dt="2024-02-21T06:14:10.681" v="165" actId="22"/>
          <ac:spMkLst>
            <pc:docMk/>
            <pc:sldMk cId="4030650752" sldId="2146847668"/>
            <ac:spMk id="24" creationId="{4F65DACB-E256-F69E-C4DE-CC5BDBCD9D22}"/>
          </ac:spMkLst>
        </pc:spChg>
        <pc:picChg chg="add mod">
          <ac:chgData name="Deepak Varier" userId="2860755c-ad16-4a65-bf71-bda1c04afae1" providerId="ADAL" clId="{B7A39222-948E-2B4E-8E24-A7ED56118C57}" dt="2024-02-21T06:13:43.749" v="164" actId="1076"/>
          <ac:picMkLst>
            <pc:docMk/>
            <pc:sldMk cId="4030650752" sldId="2146847668"/>
            <ac:picMk id="6146" creationId="{4DC180B8-6629-5197-4F32-170C5CC0725B}"/>
          </ac:picMkLst>
        </pc:picChg>
      </pc:sldChg>
      <pc:sldChg chg="addSp delSp modSp mod">
        <pc:chgData name="Deepak Varier" userId="2860755c-ad16-4a65-bf71-bda1c04afae1" providerId="ADAL" clId="{B7A39222-948E-2B4E-8E24-A7ED56118C57}" dt="2024-02-22T04:32:29.449" v="745" actId="14100"/>
        <pc:sldMkLst>
          <pc:docMk/>
          <pc:sldMk cId="422212580" sldId="2146847669"/>
        </pc:sldMkLst>
        <pc:spChg chg="add mod">
          <ac:chgData name="Deepak Varier" userId="2860755c-ad16-4a65-bf71-bda1c04afae1" providerId="ADAL" clId="{B7A39222-948E-2B4E-8E24-A7ED56118C57}" dt="2024-02-21T07:10:13.944" v="227" actId="1076"/>
          <ac:spMkLst>
            <pc:docMk/>
            <pc:sldMk cId="422212580" sldId="2146847669"/>
            <ac:spMk id="3" creationId="{C6EED245-80CE-F910-E3E1-F567044B02A0}"/>
          </ac:spMkLst>
        </pc:spChg>
        <pc:spChg chg="mod">
          <ac:chgData name="Deepak Varier" userId="2860755c-ad16-4a65-bf71-bda1c04afae1" providerId="ADAL" clId="{B7A39222-948E-2B4E-8E24-A7ED56118C57}" dt="2024-02-21T07:29:52.047" v="538" actId="1076"/>
          <ac:spMkLst>
            <pc:docMk/>
            <pc:sldMk cId="422212580" sldId="2146847669"/>
            <ac:spMk id="4" creationId="{0DB12180-17D1-234C-9F9B-8E6E4AE0F101}"/>
          </ac:spMkLst>
        </pc:spChg>
        <pc:spChg chg="add mod">
          <ac:chgData name="Deepak Varier" userId="2860755c-ad16-4a65-bf71-bda1c04afae1" providerId="ADAL" clId="{B7A39222-948E-2B4E-8E24-A7ED56118C57}" dt="2024-02-21T07:10:23.029" v="231" actId="20577"/>
          <ac:spMkLst>
            <pc:docMk/>
            <pc:sldMk cId="422212580" sldId="2146847669"/>
            <ac:spMk id="5" creationId="{B5895DFB-FD2D-F800-C89D-007FCCCC0BA7}"/>
          </ac:spMkLst>
        </pc:spChg>
        <pc:spChg chg="add del mod">
          <ac:chgData name="Deepak Varier" userId="2860755c-ad16-4a65-bf71-bda1c04afae1" providerId="ADAL" clId="{B7A39222-948E-2B4E-8E24-A7ED56118C57}" dt="2024-02-21T07:10:32.718" v="233" actId="478"/>
          <ac:spMkLst>
            <pc:docMk/>
            <pc:sldMk cId="422212580" sldId="2146847669"/>
            <ac:spMk id="6" creationId="{2F264D03-2EF6-0F21-0AB9-10B458560EA3}"/>
          </ac:spMkLst>
        </pc:spChg>
        <pc:spChg chg="add mod">
          <ac:chgData name="Deepak Varier" userId="2860755c-ad16-4a65-bf71-bda1c04afae1" providerId="ADAL" clId="{B7A39222-948E-2B4E-8E24-A7ED56118C57}" dt="2024-02-21T07:22:29.075" v="388" actId="108"/>
          <ac:spMkLst>
            <pc:docMk/>
            <pc:sldMk cId="422212580" sldId="2146847669"/>
            <ac:spMk id="10" creationId="{73052DA7-2040-4AB0-08BD-F90FA74CF30D}"/>
          </ac:spMkLst>
        </pc:spChg>
        <pc:spChg chg="add mod">
          <ac:chgData name="Deepak Varier" userId="2860755c-ad16-4a65-bf71-bda1c04afae1" providerId="ADAL" clId="{B7A39222-948E-2B4E-8E24-A7ED56118C57}" dt="2024-02-21T07:25:41.466" v="427" actId="33524"/>
          <ac:spMkLst>
            <pc:docMk/>
            <pc:sldMk cId="422212580" sldId="2146847669"/>
            <ac:spMk id="14" creationId="{8C878E89-1435-4550-B937-3FBBC197BB8B}"/>
          </ac:spMkLst>
        </pc:spChg>
        <pc:spChg chg="mod">
          <ac:chgData name="Deepak Varier" userId="2860755c-ad16-4a65-bf71-bda1c04afae1" providerId="ADAL" clId="{B7A39222-948E-2B4E-8E24-A7ED56118C57}" dt="2024-02-22T04:32:25.617" v="744" actId="14100"/>
          <ac:spMkLst>
            <pc:docMk/>
            <pc:sldMk cId="422212580" sldId="2146847669"/>
            <ac:spMk id="25" creationId="{DA56C989-7B15-5E24-13BE-99BD474A50AB}"/>
          </ac:spMkLst>
        </pc:spChg>
        <pc:spChg chg="mod">
          <ac:chgData name="Deepak Varier" userId="2860755c-ad16-4a65-bf71-bda1c04afae1" providerId="ADAL" clId="{B7A39222-948E-2B4E-8E24-A7ED56118C57}" dt="2024-02-22T04:32:29.449" v="745" actId="14100"/>
          <ac:spMkLst>
            <pc:docMk/>
            <pc:sldMk cId="422212580" sldId="2146847669"/>
            <ac:spMk id="26" creationId="{A81551B5-2BE8-8D5C-DD06-48874A8DEFAF}"/>
          </ac:spMkLst>
        </pc:spChg>
        <pc:spChg chg="mod">
          <ac:chgData name="Deepak Varier" userId="2860755c-ad16-4a65-bf71-bda1c04afae1" providerId="ADAL" clId="{B7A39222-948E-2B4E-8E24-A7ED56118C57}" dt="2024-02-22T04:32:14.216" v="743" actId="1035"/>
          <ac:spMkLst>
            <pc:docMk/>
            <pc:sldMk cId="422212580" sldId="2146847669"/>
            <ac:spMk id="27" creationId="{3C609DA6-5EC6-3E4E-B25E-E15C4B472BD9}"/>
          </ac:spMkLst>
        </pc:spChg>
        <pc:spChg chg="mod">
          <ac:chgData name="Deepak Varier" userId="2860755c-ad16-4a65-bf71-bda1c04afae1" providerId="ADAL" clId="{B7A39222-948E-2B4E-8E24-A7ED56118C57}" dt="2024-02-22T04:32:14.216" v="743" actId="1035"/>
          <ac:spMkLst>
            <pc:docMk/>
            <pc:sldMk cId="422212580" sldId="2146847669"/>
            <ac:spMk id="29" creationId="{3EBFDDDD-FC89-405F-49B3-6EDC911551A5}"/>
          </ac:spMkLst>
        </pc:spChg>
        <pc:spChg chg="mod">
          <ac:chgData name="Deepak Varier" userId="2860755c-ad16-4a65-bf71-bda1c04afae1" providerId="ADAL" clId="{B7A39222-948E-2B4E-8E24-A7ED56118C57}" dt="2024-02-21T07:29:54.992" v="539" actId="1076"/>
          <ac:spMkLst>
            <pc:docMk/>
            <pc:sldMk cId="422212580" sldId="2146847669"/>
            <ac:spMk id="52" creationId="{E158F8F4-0771-73B9-4F70-596F3B435D6E}"/>
          </ac:spMkLst>
        </pc:spChg>
        <pc:spChg chg="mod">
          <ac:chgData name="Deepak Varier" userId="2860755c-ad16-4a65-bf71-bda1c04afae1" providerId="ADAL" clId="{B7A39222-948E-2B4E-8E24-A7ED56118C57}" dt="2024-02-21T07:29:45.428" v="535" actId="1076"/>
          <ac:spMkLst>
            <pc:docMk/>
            <pc:sldMk cId="422212580" sldId="2146847669"/>
            <ac:spMk id="53" creationId="{7264E83B-0A2D-83A5-E61B-250E410A8AB6}"/>
          </ac:spMkLst>
        </pc:spChg>
        <pc:spChg chg="mod">
          <ac:chgData name="Deepak Varier" userId="2860755c-ad16-4a65-bf71-bda1c04afae1" providerId="ADAL" clId="{B7A39222-948E-2B4E-8E24-A7ED56118C57}" dt="2024-02-21T07:29:48.110" v="536" actId="1076"/>
          <ac:spMkLst>
            <pc:docMk/>
            <pc:sldMk cId="422212580" sldId="2146847669"/>
            <ac:spMk id="54" creationId="{6F30A1CC-1580-549F-6A03-5D6A49678970}"/>
          </ac:spMkLst>
        </pc:spChg>
        <pc:spChg chg="mod">
          <ac:chgData name="Deepak Varier" userId="2860755c-ad16-4a65-bf71-bda1c04afae1" providerId="ADAL" clId="{B7A39222-948E-2B4E-8E24-A7ED56118C57}" dt="2024-02-21T07:29:28.256" v="530" actId="113"/>
          <ac:spMkLst>
            <pc:docMk/>
            <pc:sldMk cId="422212580" sldId="2146847669"/>
            <ac:spMk id="55" creationId="{730FCFB9-8534-0A7E-EF45-E0D15F9C248E}"/>
          </ac:spMkLst>
        </pc:spChg>
        <pc:spChg chg="mod">
          <ac:chgData name="Deepak Varier" userId="2860755c-ad16-4a65-bf71-bda1c04afae1" providerId="ADAL" clId="{B7A39222-948E-2B4E-8E24-A7ED56118C57}" dt="2024-02-21T07:46:48.297" v="549" actId="1076"/>
          <ac:spMkLst>
            <pc:docMk/>
            <pc:sldMk cId="422212580" sldId="2146847669"/>
            <ac:spMk id="56" creationId="{642283EC-53B9-A9D1-4346-553C652EC170}"/>
          </ac:spMkLst>
        </pc:spChg>
        <pc:spChg chg="mod">
          <ac:chgData name="Deepak Varier" userId="2860755c-ad16-4a65-bf71-bda1c04afae1" providerId="ADAL" clId="{B7A39222-948E-2B4E-8E24-A7ED56118C57}" dt="2024-02-22T04:32:14.216" v="743" actId="1035"/>
          <ac:spMkLst>
            <pc:docMk/>
            <pc:sldMk cId="422212580" sldId="2146847669"/>
            <ac:spMk id="57" creationId="{AB46BE05-8EC7-9658-F685-D309848154CF}"/>
          </ac:spMkLst>
        </pc:spChg>
      </pc:sldChg>
      <pc:sldChg chg="addSp modSp mod">
        <pc:chgData name="Deepak Varier" userId="2860755c-ad16-4a65-bf71-bda1c04afae1" providerId="ADAL" clId="{B7A39222-948E-2B4E-8E24-A7ED56118C57}" dt="2024-02-22T05:24:39.212" v="1419" actId="113"/>
        <pc:sldMkLst>
          <pc:docMk/>
          <pc:sldMk cId="2374332569" sldId="2146847670"/>
        </pc:sldMkLst>
        <pc:spChg chg="mod">
          <ac:chgData name="Deepak Varier" userId="2860755c-ad16-4a65-bf71-bda1c04afae1" providerId="ADAL" clId="{B7A39222-948E-2B4E-8E24-A7ED56118C57}" dt="2024-02-22T04:58:42.589" v="1066" actId="14100"/>
          <ac:spMkLst>
            <pc:docMk/>
            <pc:sldMk cId="2374332569" sldId="2146847670"/>
            <ac:spMk id="58" creationId="{7B1E0A46-96F3-83FC-CFCD-D4541F2E7285}"/>
          </ac:spMkLst>
        </pc:spChg>
        <pc:spChg chg="mod">
          <ac:chgData name="Deepak Varier" userId="2860755c-ad16-4a65-bf71-bda1c04afae1" providerId="ADAL" clId="{B7A39222-948E-2B4E-8E24-A7ED56118C57}" dt="2024-02-22T05:19:37.363" v="1389" actId="20577"/>
          <ac:spMkLst>
            <pc:docMk/>
            <pc:sldMk cId="2374332569" sldId="2146847670"/>
            <ac:spMk id="59" creationId="{A407D6C4-9233-C41F-EC18-A41BBA5A3E4C}"/>
          </ac:spMkLst>
        </pc:spChg>
        <pc:spChg chg="mod">
          <ac:chgData name="Deepak Varier" userId="2860755c-ad16-4a65-bf71-bda1c04afae1" providerId="ADAL" clId="{B7A39222-948E-2B4E-8E24-A7ED56118C57}" dt="2024-02-22T05:08:58.199" v="1214" actId="20577"/>
          <ac:spMkLst>
            <pc:docMk/>
            <pc:sldMk cId="2374332569" sldId="2146847670"/>
            <ac:spMk id="60" creationId="{8B8DD66D-493F-5BD2-F662-6A49667AC8CE}"/>
          </ac:spMkLst>
        </pc:spChg>
        <pc:spChg chg="mod">
          <ac:chgData name="Deepak Varier" userId="2860755c-ad16-4a65-bf71-bda1c04afae1" providerId="ADAL" clId="{B7A39222-948E-2B4E-8E24-A7ED56118C57}" dt="2024-02-22T05:10:20.795" v="1352" actId="20577"/>
          <ac:spMkLst>
            <pc:docMk/>
            <pc:sldMk cId="2374332569" sldId="2146847670"/>
            <ac:spMk id="61" creationId="{073E7A67-FD51-5989-1B53-3805E810AED9}"/>
          </ac:spMkLst>
        </pc:spChg>
        <pc:spChg chg="mod">
          <ac:chgData name="Deepak Varier" userId="2860755c-ad16-4a65-bf71-bda1c04afae1" providerId="ADAL" clId="{B7A39222-948E-2B4E-8E24-A7ED56118C57}" dt="2024-02-22T05:08:51.801" v="1195" actId="20577"/>
          <ac:spMkLst>
            <pc:docMk/>
            <pc:sldMk cId="2374332569" sldId="2146847670"/>
            <ac:spMk id="62" creationId="{92B32A9A-1A21-9479-0D19-7ED977DD8429}"/>
          </ac:spMkLst>
        </pc:spChg>
        <pc:spChg chg="mod">
          <ac:chgData name="Deepak Varier" userId="2860755c-ad16-4a65-bf71-bda1c04afae1" providerId="ADAL" clId="{B7A39222-948E-2B4E-8E24-A7ED56118C57}" dt="2024-02-22T05:24:39.212" v="1419" actId="113"/>
          <ac:spMkLst>
            <pc:docMk/>
            <pc:sldMk cId="2374332569" sldId="2146847670"/>
            <ac:spMk id="63" creationId="{406394EE-4986-291D-1E94-6B9CAE127DD4}"/>
          </ac:spMkLst>
        </pc:spChg>
        <pc:picChg chg="mod">
          <ac:chgData name="Deepak Varier" userId="2860755c-ad16-4a65-bf71-bda1c04afae1" providerId="ADAL" clId="{B7A39222-948E-2B4E-8E24-A7ED56118C57}" dt="2024-02-22T05:12:18.469" v="1353" actId="1076"/>
          <ac:picMkLst>
            <pc:docMk/>
            <pc:sldMk cId="2374332569" sldId="2146847670"/>
            <ac:picMk id="4100" creationId="{F5683017-B7D8-8078-A15A-ED292871E858}"/>
          </ac:picMkLst>
        </pc:picChg>
        <pc:picChg chg="add mod">
          <ac:chgData name="Deepak Varier" userId="2860755c-ad16-4a65-bf71-bda1c04afae1" providerId="ADAL" clId="{B7A39222-948E-2B4E-8E24-A7ED56118C57}" dt="2024-02-22T05:18:28.563" v="1361" actId="1076"/>
          <ac:picMkLst>
            <pc:docMk/>
            <pc:sldMk cId="2374332569" sldId="2146847670"/>
            <ac:picMk id="7170" creationId="{9E8E6DEA-9D7C-3EBF-B159-2AB62881A1AF}"/>
          </ac:picMkLst>
        </pc:picChg>
      </pc:sldChg>
      <pc:sldChg chg="ord">
        <pc:chgData name="Deepak Varier" userId="2860755c-ad16-4a65-bf71-bda1c04afae1" providerId="ADAL" clId="{B7A39222-948E-2B4E-8E24-A7ED56118C57}" dt="2024-02-22T06:10:50.278" v="1483" actId="20578"/>
        <pc:sldMkLst>
          <pc:docMk/>
          <pc:sldMk cId="1815865108" sldId="2146847673"/>
        </pc:sldMkLst>
      </pc:sldChg>
      <pc:sldChg chg="del">
        <pc:chgData name="Deepak Varier" userId="2860755c-ad16-4a65-bf71-bda1c04afae1" providerId="ADAL" clId="{B7A39222-948E-2B4E-8E24-A7ED56118C57}" dt="2024-02-22T04:31:38.932" v="704" actId="2696"/>
        <pc:sldMkLst>
          <pc:docMk/>
          <pc:sldMk cId="3123059831" sldId="2146847674"/>
        </pc:sldMkLst>
      </pc:sldChg>
    </pc:docChg>
  </pc:docChgLst>
  <pc:docChgLst>
    <pc:chgData name="Siddhartha Paul" userId="0f6d2a28-7c6e-4106-a327-1058fe8b7c05" providerId="ADAL" clId="{C15EC1BA-EE25-4672-92A2-9249CEBF869C}"/>
    <pc:docChg chg="undo redo custSel addSld delSld modSld sldOrd">
      <pc:chgData name="Siddhartha Paul" userId="0f6d2a28-7c6e-4106-a327-1058fe8b7c05" providerId="ADAL" clId="{C15EC1BA-EE25-4672-92A2-9249CEBF869C}" dt="2024-02-22T11:59:48.674" v="12755" actId="14100"/>
      <pc:docMkLst>
        <pc:docMk/>
      </pc:docMkLst>
      <pc:sldChg chg="addSp modSp mod">
        <pc:chgData name="Siddhartha Paul" userId="0f6d2a28-7c6e-4106-a327-1058fe8b7c05" providerId="ADAL" clId="{C15EC1BA-EE25-4672-92A2-9249CEBF869C}" dt="2024-02-22T09:55:28.736" v="12392" actId="1076"/>
        <pc:sldMkLst>
          <pc:docMk/>
          <pc:sldMk cId="0" sldId="256"/>
        </pc:sldMkLst>
        <pc:spChg chg="add mod">
          <ac:chgData name="Siddhartha Paul" userId="0f6d2a28-7c6e-4106-a327-1058fe8b7c05" providerId="ADAL" clId="{C15EC1BA-EE25-4672-92A2-9249CEBF869C}" dt="2024-02-22T09:55:28.736" v="12392" actId="1076"/>
          <ac:spMkLst>
            <pc:docMk/>
            <pc:sldMk cId="0" sldId="256"/>
            <ac:spMk id="3" creationId="{90F95D5B-36FC-BCEE-2A52-65E4C2B57FAB}"/>
          </ac:spMkLst>
        </pc:spChg>
        <pc:spChg chg="mod">
          <ac:chgData name="Siddhartha Paul" userId="0f6d2a28-7c6e-4106-a327-1058fe8b7c05" providerId="ADAL" clId="{C15EC1BA-EE25-4672-92A2-9249CEBF869C}" dt="2024-02-15T04:39:24.633" v="55" actId="20577"/>
          <ac:spMkLst>
            <pc:docMk/>
            <pc:sldMk cId="0" sldId="256"/>
            <ac:spMk id="4" creationId="{2A7999EA-4895-FB4F-A34B-9A5DA6F68608}"/>
          </ac:spMkLst>
        </pc:spChg>
        <pc:spChg chg="mod">
          <ac:chgData name="Siddhartha Paul" userId="0f6d2a28-7c6e-4106-a327-1058fe8b7c05" providerId="ADAL" clId="{C15EC1BA-EE25-4672-92A2-9249CEBF869C}" dt="2024-02-22T09:55:11.167" v="12385" actId="20577"/>
          <ac:spMkLst>
            <pc:docMk/>
            <pc:sldMk cId="0" sldId="256"/>
            <ac:spMk id="50178" creationId="{00E5ADCE-CDF1-184F-AB0B-828906BFC835}"/>
          </ac:spMkLst>
        </pc:spChg>
      </pc:sldChg>
      <pc:sldChg chg="add del">
        <pc:chgData name="Siddhartha Paul" userId="0f6d2a28-7c6e-4106-a327-1058fe8b7c05" providerId="ADAL" clId="{C15EC1BA-EE25-4672-92A2-9249CEBF869C}" dt="2024-02-20T19:09:42.668" v="2315" actId="47"/>
        <pc:sldMkLst>
          <pc:docMk/>
          <pc:sldMk cId="831950113" sldId="2145709868"/>
        </pc:sldMkLst>
      </pc:sldChg>
      <pc:sldChg chg="add del ord">
        <pc:chgData name="Siddhartha Paul" userId="0f6d2a28-7c6e-4106-a327-1058fe8b7c05" providerId="ADAL" clId="{C15EC1BA-EE25-4672-92A2-9249CEBF869C}" dt="2024-02-20T20:42:25.761" v="4940" actId="47"/>
        <pc:sldMkLst>
          <pc:docMk/>
          <pc:sldMk cId="69372904" sldId="2145709869"/>
        </pc:sldMkLst>
      </pc:sldChg>
      <pc:sldChg chg="add del ord">
        <pc:chgData name="Siddhartha Paul" userId="0f6d2a28-7c6e-4106-a327-1058fe8b7c05" providerId="ADAL" clId="{C15EC1BA-EE25-4672-92A2-9249CEBF869C}" dt="2024-02-21T08:14:47.781" v="9402" actId="47"/>
        <pc:sldMkLst>
          <pc:docMk/>
          <pc:sldMk cId="238913665" sldId="2145709870"/>
        </pc:sldMkLst>
      </pc:sldChg>
      <pc:sldChg chg="add del">
        <pc:chgData name="Siddhartha Paul" userId="0f6d2a28-7c6e-4106-a327-1058fe8b7c05" providerId="ADAL" clId="{C15EC1BA-EE25-4672-92A2-9249CEBF869C}" dt="2024-02-21T08:04:15.772" v="9200" actId="47"/>
        <pc:sldMkLst>
          <pc:docMk/>
          <pc:sldMk cId="2165985691" sldId="2145709871"/>
        </pc:sldMkLst>
      </pc:sldChg>
      <pc:sldChg chg="addSp delSp modSp add del mod ord">
        <pc:chgData name="Siddhartha Paul" userId="0f6d2a28-7c6e-4106-a327-1058fe8b7c05" providerId="ADAL" clId="{C15EC1BA-EE25-4672-92A2-9249CEBF869C}" dt="2024-02-20T20:35:53.917" v="4811" actId="47"/>
        <pc:sldMkLst>
          <pc:docMk/>
          <pc:sldMk cId="3488783322" sldId="2145709872"/>
        </pc:sldMkLst>
        <pc:spChg chg="del">
          <ac:chgData name="Siddhartha Paul" userId="0f6d2a28-7c6e-4106-a327-1058fe8b7c05" providerId="ADAL" clId="{C15EC1BA-EE25-4672-92A2-9249CEBF869C}" dt="2024-02-20T20:35:08.974" v="4785" actId="478"/>
          <ac:spMkLst>
            <pc:docMk/>
            <pc:sldMk cId="3488783322" sldId="2145709872"/>
            <ac:spMk id="2" creationId="{2568C42B-531A-9208-1C5D-F6B64CEDA9AC}"/>
          </ac:spMkLst>
        </pc:spChg>
        <pc:spChg chg="del">
          <ac:chgData name="Siddhartha Paul" userId="0f6d2a28-7c6e-4106-a327-1058fe8b7c05" providerId="ADAL" clId="{C15EC1BA-EE25-4672-92A2-9249CEBF869C}" dt="2024-02-20T20:35:34.138" v="4803" actId="478"/>
          <ac:spMkLst>
            <pc:docMk/>
            <pc:sldMk cId="3488783322" sldId="2145709872"/>
            <ac:spMk id="3" creationId="{3212EC56-FBCF-B311-DDF3-8A902AA66B1D}"/>
          </ac:spMkLst>
        </pc:spChg>
        <pc:spChg chg="add del mod">
          <ac:chgData name="Siddhartha Paul" userId="0f6d2a28-7c6e-4106-a327-1058fe8b7c05" providerId="ADAL" clId="{C15EC1BA-EE25-4672-92A2-9249CEBF869C}" dt="2024-02-20T20:35:11.995" v="4786" actId="478"/>
          <ac:spMkLst>
            <pc:docMk/>
            <pc:sldMk cId="3488783322" sldId="2145709872"/>
            <ac:spMk id="4" creationId="{5877D81E-E20E-9D9F-C547-4C71551792C2}"/>
          </ac:spMkLst>
        </pc:spChg>
      </pc:sldChg>
      <pc:sldChg chg="addSp delSp modSp add del mod">
        <pc:chgData name="Siddhartha Paul" userId="0f6d2a28-7c6e-4106-a327-1058fe8b7c05" providerId="ADAL" clId="{C15EC1BA-EE25-4672-92A2-9249CEBF869C}" dt="2024-02-20T19:04:24.445" v="2310" actId="47"/>
        <pc:sldMkLst>
          <pc:docMk/>
          <pc:sldMk cId="2315209660" sldId="2145709873"/>
        </pc:sldMkLst>
        <pc:spChg chg="del">
          <ac:chgData name="Siddhartha Paul" userId="0f6d2a28-7c6e-4106-a327-1058fe8b7c05" providerId="ADAL" clId="{C15EC1BA-EE25-4672-92A2-9249CEBF869C}" dt="2024-02-20T19:02:39.561" v="2284" actId="478"/>
          <ac:spMkLst>
            <pc:docMk/>
            <pc:sldMk cId="2315209660" sldId="2145709873"/>
            <ac:spMk id="2" creationId="{182FDC27-FD0F-3B05-3611-A1BFE27D544D}"/>
          </ac:spMkLst>
        </pc:spChg>
        <pc:spChg chg="del">
          <ac:chgData name="Siddhartha Paul" userId="0f6d2a28-7c6e-4106-a327-1058fe8b7c05" providerId="ADAL" clId="{C15EC1BA-EE25-4672-92A2-9249CEBF869C}" dt="2024-02-20T19:02:53.644" v="2287" actId="478"/>
          <ac:spMkLst>
            <pc:docMk/>
            <pc:sldMk cId="2315209660" sldId="2145709873"/>
            <ac:spMk id="3" creationId="{B2E01E90-B7BA-D11A-EDCF-45413D2EAAEA}"/>
          </ac:spMkLst>
        </pc:spChg>
        <pc:spChg chg="add del mod">
          <ac:chgData name="Siddhartha Paul" userId="0f6d2a28-7c6e-4106-a327-1058fe8b7c05" providerId="ADAL" clId="{C15EC1BA-EE25-4672-92A2-9249CEBF869C}" dt="2024-02-20T19:02:42.172" v="2285" actId="478"/>
          <ac:spMkLst>
            <pc:docMk/>
            <pc:sldMk cId="2315209660" sldId="2145709873"/>
            <ac:spMk id="4" creationId="{60C4F77B-9DF6-66AE-FDD0-F2EB8C6885BF}"/>
          </ac:spMkLst>
        </pc:spChg>
        <pc:spChg chg="add mod">
          <ac:chgData name="Siddhartha Paul" userId="0f6d2a28-7c6e-4106-a327-1058fe8b7c05" providerId="ADAL" clId="{C15EC1BA-EE25-4672-92A2-9249CEBF869C}" dt="2024-02-20T19:03:55.060" v="2304" actId="108"/>
          <ac:spMkLst>
            <pc:docMk/>
            <pc:sldMk cId="2315209660" sldId="2145709873"/>
            <ac:spMk id="5" creationId="{879529BD-B827-9FFA-18BE-C8BF51285B00}"/>
          </ac:spMkLst>
        </pc:spChg>
      </pc:sldChg>
      <pc:sldChg chg="modSp add del mod ord">
        <pc:chgData name="Siddhartha Paul" userId="0f6d2a28-7c6e-4106-a327-1058fe8b7c05" providerId="ADAL" clId="{C15EC1BA-EE25-4672-92A2-9249CEBF869C}" dt="2024-02-21T07:32:10.652" v="8051" actId="47"/>
        <pc:sldMkLst>
          <pc:docMk/>
          <pc:sldMk cId="3606585520" sldId="2145709874"/>
        </pc:sldMkLst>
        <pc:spChg chg="mod">
          <ac:chgData name="Siddhartha Paul" userId="0f6d2a28-7c6e-4106-a327-1058fe8b7c05" providerId="ADAL" clId="{C15EC1BA-EE25-4672-92A2-9249CEBF869C}" dt="2024-02-21T07:28:21.183" v="8012" actId="20577"/>
          <ac:spMkLst>
            <pc:docMk/>
            <pc:sldMk cId="3606585520" sldId="2145709874"/>
            <ac:spMk id="2" creationId="{4E7905AC-3C60-A01F-025F-2FB289F0450C}"/>
          </ac:spMkLst>
        </pc:spChg>
      </pc:sldChg>
      <pc:sldChg chg="add del">
        <pc:chgData name="Siddhartha Paul" userId="0f6d2a28-7c6e-4106-a327-1058fe8b7c05" providerId="ADAL" clId="{C15EC1BA-EE25-4672-92A2-9249CEBF869C}" dt="2024-02-21T08:14:47.781" v="9402" actId="47"/>
        <pc:sldMkLst>
          <pc:docMk/>
          <pc:sldMk cId="3169297497" sldId="2145709875"/>
        </pc:sldMkLst>
      </pc:sldChg>
      <pc:sldChg chg="add del">
        <pc:chgData name="Siddhartha Paul" userId="0f6d2a28-7c6e-4106-a327-1058fe8b7c05" providerId="ADAL" clId="{C15EC1BA-EE25-4672-92A2-9249CEBF869C}" dt="2024-02-20T20:46:56.397" v="5089" actId="47"/>
        <pc:sldMkLst>
          <pc:docMk/>
          <pc:sldMk cId="2930584456" sldId="2145709876"/>
        </pc:sldMkLst>
      </pc:sldChg>
      <pc:sldChg chg="add del ord">
        <pc:chgData name="Siddhartha Paul" userId="0f6d2a28-7c6e-4106-a327-1058fe8b7c05" providerId="ADAL" clId="{C15EC1BA-EE25-4672-92A2-9249CEBF869C}" dt="2024-02-20T20:53:57.454" v="5110" actId="47"/>
        <pc:sldMkLst>
          <pc:docMk/>
          <pc:sldMk cId="1909467908" sldId="2145709877"/>
        </pc:sldMkLst>
      </pc:sldChg>
      <pc:sldChg chg="addSp delSp modSp add del mod ord">
        <pc:chgData name="Siddhartha Paul" userId="0f6d2a28-7c6e-4106-a327-1058fe8b7c05" providerId="ADAL" clId="{C15EC1BA-EE25-4672-92A2-9249CEBF869C}" dt="2024-02-22T10:28:52.332" v="12591" actId="1076"/>
        <pc:sldMkLst>
          <pc:docMk/>
          <pc:sldMk cId="3257119872" sldId="2146846981"/>
        </pc:sldMkLst>
        <pc:spChg chg="mod">
          <ac:chgData name="Siddhartha Paul" userId="0f6d2a28-7c6e-4106-a327-1058fe8b7c05" providerId="ADAL" clId="{C15EC1BA-EE25-4672-92A2-9249CEBF869C}" dt="2024-02-22T10:14:23.599" v="12469" actId="14100"/>
          <ac:spMkLst>
            <pc:docMk/>
            <pc:sldMk cId="3257119872" sldId="2146846981"/>
            <ac:spMk id="2" creationId="{8479178C-877E-6089-D30A-B64F8CB1826D}"/>
          </ac:spMkLst>
        </pc:spChg>
        <pc:spChg chg="del mod">
          <ac:chgData name="Siddhartha Paul" userId="0f6d2a28-7c6e-4106-a327-1058fe8b7c05" providerId="ADAL" clId="{C15EC1BA-EE25-4672-92A2-9249CEBF869C}" dt="2024-02-22T07:03:02" v="12134" actId="478"/>
          <ac:spMkLst>
            <pc:docMk/>
            <pc:sldMk cId="3257119872" sldId="2146846981"/>
            <ac:spMk id="3" creationId="{5E6DF6D1-A873-D541-8117-758072758CCA}"/>
          </ac:spMkLst>
        </pc:spChg>
        <pc:spChg chg="mod">
          <ac:chgData name="Siddhartha Paul" userId="0f6d2a28-7c6e-4106-a327-1058fe8b7c05" providerId="ADAL" clId="{C15EC1BA-EE25-4672-92A2-9249CEBF869C}" dt="2024-02-22T07:05:41.143" v="12276" actId="1035"/>
          <ac:spMkLst>
            <pc:docMk/>
            <pc:sldMk cId="3257119872" sldId="2146846981"/>
            <ac:spMk id="5" creationId="{F9BEF111-18CC-8D25-6D84-863A8E081E74}"/>
          </ac:spMkLst>
        </pc:spChg>
        <pc:spChg chg="add mod">
          <ac:chgData name="Siddhartha Paul" userId="0f6d2a28-7c6e-4106-a327-1058fe8b7c05" providerId="ADAL" clId="{C15EC1BA-EE25-4672-92A2-9249CEBF869C}" dt="2024-02-22T07:05:41.143" v="12276" actId="1035"/>
          <ac:spMkLst>
            <pc:docMk/>
            <pc:sldMk cId="3257119872" sldId="2146846981"/>
            <ac:spMk id="7" creationId="{543CB200-6A7F-B17D-7039-BF3C75030CA1}"/>
          </ac:spMkLst>
        </pc:spChg>
        <pc:spChg chg="mod">
          <ac:chgData name="Siddhartha Paul" userId="0f6d2a28-7c6e-4106-a327-1058fe8b7c05" providerId="ADAL" clId="{C15EC1BA-EE25-4672-92A2-9249CEBF869C}" dt="2024-02-22T07:05:41.143" v="12276" actId="1035"/>
          <ac:spMkLst>
            <pc:docMk/>
            <pc:sldMk cId="3257119872" sldId="2146846981"/>
            <ac:spMk id="10" creationId="{6128C32E-3D7D-1176-EF6C-C2FEAE7D6368}"/>
          </ac:spMkLst>
        </pc:spChg>
        <pc:spChg chg="mod">
          <ac:chgData name="Siddhartha Paul" userId="0f6d2a28-7c6e-4106-a327-1058fe8b7c05" providerId="ADAL" clId="{C15EC1BA-EE25-4672-92A2-9249CEBF869C}" dt="2024-02-22T07:05:41.143" v="12276" actId="1035"/>
          <ac:spMkLst>
            <pc:docMk/>
            <pc:sldMk cId="3257119872" sldId="2146846981"/>
            <ac:spMk id="11" creationId="{A2D41B1E-9002-4892-6FD6-C3180A3C120A}"/>
          </ac:spMkLst>
        </pc:spChg>
        <pc:spChg chg="mod">
          <ac:chgData name="Siddhartha Paul" userId="0f6d2a28-7c6e-4106-a327-1058fe8b7c05" providerId="ADAL" clId="{C15EC1BA-EE25-4672-92A2-9249CEBF869C}" dt="2024-02-22T07:06:30.309" v="12314" actId="1035"/>
          <ac:spMkLst>
            <pc:docMk/>
            <pc:sldMk cId="3257119872" sldId="2146846981"/>
            <ac:spMk id="13" creationId="{D568C01B-8ABD-0847-A9FF-607B751E508A}"/>
          </ac:spMkLst>
        </pc:spChg>
        <pc:spChg chg="add mod">
          <ac:chgData name="Siddhartha Paul" userId="0f6d2a28-7c6e-4106-a327-1058fe8b7c05" providerId="ADAL" clId="{C15EC1BA-EE25-4672-92A2-9249CEBF869C}" dt="2024-02-22T07:05:49.298" v="12277" actId="14100"/>
          <ac:spMkLst>
            <pc:docMk/>
            <pc:sldMk cId="3257119872" sldId="2146846981"/>
            <ac:spMk id="16" creationId="{53B2950F-9DAC-6A9E-C458-7BCA3AAB9279}"/>
          </ac:spMkLst>
        </pc:spChg>
        <pc:spChg chg="mod">
          <ac:chgData name="Siddhartha Paul" userId="0f6d2a28-7c6e-4106-a327-1058fe8b7c05" providerId="ADAL" clId="{C15EC1BA-EE25-4672-92A2-9249CEBF869C}" dt="2024-02-22T07:05:41.143" v="12276" actId="1035"/>
          <ac:spMkLst>
            <pc:docMk/>
            <pc:sldMk cId="3257119872" sldId="2146846981"/>
            <ac:spMk id="19" creationId="{30F64B4A-56A4-5208-46AD-08665E9942B4}"/>
          </ac:spMkLst>
        </pc:spChg>
        <pc:spChg chg="add mod">
          <ac:chgData name="Siddhartha Paul" userId="0f6d2a28-7c6e-4106-a327-1058fe8b7c05" providerId="ADAL" clId="{C15EC1BA-EE25-4672-92A2-9249CEBF869C}" dt="2024-02-22T07:05:49.298" v="12277" actId="14100"/>
          <ac:spMkLst>
            <pc:docMk/>
            <pc:sldMk cId="3257119872" sldId="2146846981"/>
            <ac:spMk id="21" creationId="{9DBEF588-CDBB-C189-F5B9-622FAC20A448}"/>
          </ac:spMkLst>
        </pc:spChg>
        <pc:spChg chg="mod">
          <ac:chgData name="Siddhartha Paul" userId="0f6d2a28-7c6e-4106-a327-1058fe8b7c05" providerId="ADAL" clId="{C15EC1BA-EE25-4672-92A2-9249CEBF869C}" dt="2024-02-22T07:05:41.143" v="12276" actId="1035"/>
          <ac:spMkLst>
            <pc:docMk/>
            <pc:sldMk cId="3257119872" sldId="2146846981"/>
            <ac:spMk id="23" creationId="{B657234F-2690-5C51-C095-91D4A3AEA114}"/>
          </ac:spMkLst>
        </pc:spChg>
        <pc:spChg chg="add mod">
          <ac:chgData name="Siddhartha Paul" userId="0f6d2a28-7c6e-4106-a327-1058fe8b7c05" providerId="ADAL" clId="{C15EC1BA-EE25-4672-92A2-9249CEBF869C}" dt="2024-02-22T07:05:49.298" v="12277" actId="14100"/>
          <ac:spMkLst>
            <pc:docMk/>
            <pc:sldMk cId="3257119872" sldId="2146846981"/>
            <ac:spMk id="25" creationId="{E9536D6B-D2BC-34C1-3386-93773E32470E}"/>
          </ac:spMkLst>
        </pc:spChg>
        <pc:spChg chg="mod">
          <ac:chgData name="Siddhartha Paul" userId="0f6d2a28-7c6e-4106-a327-1058fe8b7c05" providerId="ADAL" clId="{C15EC1BA-EE25-4672-92A2-9249CEBF869C}" dt="2024-02-22T10:07:02.238" v="12406" actId="20577"/>
          <ac:spMkLst>
            <pc:docMk/>
            <pc:sldMk cId="3257119872" sldId="2146846981"/>
            <ac:spMk id="26" creationId="{D19149EC-F826-202C-A1F2-C4AA5286D88D}"/>
          </ac:spMkLst>
        </pc:spChg>
        <pc:spChg chg="mod">
          <ac:chgData name="Siddhartha Paul" userId="0f6d2a28-7c6e-4106-a327-1058fe8b7c05" providerId="ADAL" clId="{C15EC1BA-EE25-4672-92A2-9249CEBF869C}" dt="2024-02-22T07:05:41.143" v="12276" actId="1035"/>
          <ac:spMkLst>
            <pc:docMk/>
            <pc:sldMk cId="3257119872" sldId="2146846981"/>
            <ac:spMk id="28" creationId="{BE2A3B42-F665-5F7C-D105-3309679C36A5}"/>
          </ac:spMkLst>
        </pc:spChg>
        <pc:spChg chg="add mod">
          <ac:chgData name="Siddhartha Paul" userId="0f6d2a28-7c6e-4106-a327-1058fe8b7c05" providerId="ADAL" clId="{C15EC1BA-EE25-4672-92A2-9249CEBF869C}" dt="2024-02-22T07:05:41.143" v="12276" actId="1035"/>
          <ac:spMkLst>
            <pc:docMk/>
            <pc:sldMk cId="3257119872" sldId="2146846981"/>
            <ac:spMk id="30" creationId="{94CFF050-47D7-5109-BE1A-6EBB77543498}"/>
          </ac:spMkLst>
        </pc:spChg>
        <pc:spChg chg="mod">
          <ac:chgData name="Siddhartha Paul" userId="0f6d2a28-7c6e-4106-a327-1058fe8b7c05" providerId="ADAL" clId="{C15EC1BA-EE25-4672-92A2-9249CEBF869C}" dt="2024-02-22T07:05:41.143" v="12276" actId="1035"/>
          <ac:spMkLst>
            <pc:docMk/>
            <pc:sldMk cId="3257119872" sldId="2146846981"/>
            <ac:spMk id="32" creationId="{83E35866-E568-53EF-BAD8-D62593EF5B13}"/>
          </ac:spMkLst>
        </pc:spChg>
        <pc:spChg chg="add mod">
          <ac:chgData name="Siddhartha Paul" userId="0f6d2a28-7c6e-4106-a327-1058fe8b7c05" providerId="ADAL" clId="{C15EC1BA-EE25-4672-92A2-9249CEBF869C}" dt="2024-02-22T07:05:49.298" v="12277" actId="14100"/>
          <ac:spMkLst>
            <pc:docMk/>
            <pc:sldMk cId="3257119872" sldId="2146846981"/>
            <ac:spMk id="34" creationId="{22578CF1-59A6-33B4-99D4-5765DDA19D25}"/>
          </ac:spMkLst>
        </pc:spChg>
        <pc:spChg chg="add mod">
          <ac:chgData name="Siddhartha Paul" userId="0f6d2a28-7c6e-4106-a327-1058fe8b7c05" providerId="ADAL" clId="{C15EC1BA-EE25-4672-92A2-9249CEBF869C}" dt="2024-02-22T10:22:08.033" v="12546" actId="14100"/>
          <ac:spMkLst>
            <pc:docMk/>
            <pc:sldMk cId="3257119872" sldId="2146846981"/>
            <ac:spMk id="41" creationId="{2E45798C-5521-0709-EA5D-8605A08212B4}"/>
          </ac:spMkLst>
        </pc:spChg>
        <pc:spChg chg="add mod">
          <ac:chgData name="Siddhartha Paul" userId="0f6d2a28-7c6e-4106-a327-1058fe8b7c05" providerId="ADAL" clId="{C15EC1BA-EE25-4672-92A2-9249CEBF869C}" dt="2024-02-22T10:22:05.084" v="12545" actId="14100"/>
          <ac:spMkLst>
            <pc:docMk/>
            <pc:sldMk cId="3257119872" sldId="2146846981"/>
            <ac:spMk id="43" creationId="{DFC90943-9B48-10C5-E20E-C202CCB7173E}"/>
          </ac:spMkLst>
        </pc:spChg>
        <pc:spChg chg="add mod">
          <ac:chgData name="Siddhartha Paul" userId="0f6d2a28-7c6e-4106-a327-1058fe8b7c05" providerId="ADAL" clId="{C15EC1BA-EE25-4672-92A2-9249CEBF869C}" dt="2024-02-22T10:28:52.332" v="12591" actId="1076"/>
          <ac:spMkLst>
            <pc:docMk/>
            <pc:sldMk cId="3257119872" sldId="2146846981"/>
            <ac:spMk id="46" creationId="{9FE46280-C5E8-DC3D-58A4-077E079145D9}"/>
          </ac:spMkLst>
        </pc:spChg>
        <pc:grpChg chg="add mod">
          <ac:chgData name="Siddhartha Paul" userId="0f6d2a28-7c6e-4106-a327-1058fe8b7c05" providerId="ADAL" clId="{C15EC1BA-EE25-4672-92A2-9249CEBF869C}" dt="2024-02-22T07:05:41.143" v="12276" actId="1035"/>
          <ac:grpSpMkLst>
            <pc:docMk/>
            <pc:sldMk cId="3257119872" sldId="2146846981"/>
            <ac:grpSpMk id="4" creationId="{2E421798-C269-2A82-276E-CA5F54604419}"/>
          </ac:grpSpMkLst>
        </pc:grpChg>
        <pc:grpChg chg="add mod">
          <ac:chgData name="Siddhartha Paul" userId="0f6d2a28-7c6e-4106-a327-1058fe8b7c05" providerId="ADAL" clId="{C15EC1BA-EE25-4672-92A2-9249CEBF869C}" dt="2024-02-22T07:05:41.143" v="12276" actId="1035"/>
          <ac:grpSpMkLst>
            <pc:docMk/>
            <pc:sldMk cId="3257119872" sldId="2146846981"/>
            <ac:grpSpMk id="8" creationId="{EC4BDFD4-BD75-D6A3-B9A1-41721AEFAD5B}"/>
          </ac:grpSpMkLst>
        </pc:grpChg>
        <pc:grpChg chg="mod">
          <ac:chgData name="Siddhartha Paul" userId="0f6d2a28-7c6e-4106-a327-1058fe8b7c05" providerId="ADAL" clId="{C15EC1BA-EE25-4672-92A2-9249CEBF869C}" dt="2024-02-22T07:05:41.143" v="12276" actId="1035"/>
          <ac:grpSpMkLst>
            <pc:docMk/>
            <pc:sldMk cId="3257119872" sldId="2146846981"/>
            <ac:grpSpMk id="9" creationId="{2C82E46C-3060-A893-F711-DC6FCCFD334D}"/>
          </ac:grpSpMkLst>
        </pc:grpChg>
        <pc:grpChg chg="mod">
          <ac:chgData name="Siddhartha Paul" userId="0f6d2a28-7c6e-4106-a327-1058fe8b7c05" providerId="ADAL" clId="{C15EC1BA-EE25-4672-92A2-9249CEBF869C}" dt="2024-02-22T07:06:30.309" v="12314" actId="1035"/>
          <ac:grpSpMkLst>
            <pc:docMk/>
            <pc:sldMk cId="3257119872" sldId="2146846981"/>
            <ac:grpSpMk id="12" creationId="{EEBA5560-2522-0442-AF45-BA231340F326}"/>
          </ac:grpSpMkLst>
        </pc:grpChg>
        <pc:grpChg chg="add mod">
          <ac:chgData name="Siddhartha Paul" userId="0f6d2a28-7c6e-4106-a327-1058fe8b7c05" providerId="ADAL" clId="{C15EC1BA-EE25-4672-92A2-9249CEBF869C}" dt="2024-02-22T07:05:41.143" v="12276" actId="1035"/>
          <ac:grpSpMkLst>
            <pc:docMk/>
            <pc:sldMk cId="3257119872" sldId="2146846981"/>
            <ac:grpSpMk id="17" creationId="{73A55106-97B4-E457-C954-EF52D29A79F8}"/>
          </ac:grpSpMkLst>
        </pc:grpChg>
        <pc:grpChg chg="add mod">
          <ac:chgData name="Siddhartha Paul" userId="0f6d2a28-7c6e-4106-a327-1058fe8b7c05" providerId="ADAL" clId="{C15EC1BA-EE25-4672-92A2-9249CEBF869C}" dt="2024-02-22T07:05:41.143" v="12276" actId="1035"/>
          <ac:grpSpMkLst>
            <pc:docMk/>
            <pc:sldMk cId="3257119872" sldId="2146846981"/>
            <ac:grpSpMk id="22" creationId="{99DB0377-14FF-15B5-6A72-F848A954F7A3}"/>
          </ac:grpSpMkLst>
        </pc:grpChg>
        <pc:grpChg chg="add mod">
          <ac:chgData name="Siddhartha Paul" userId="0f6d2a28-7c6e-4106-a327-1058fe8b7c05" providerId="ADAL" clId="{C15EC1BA-EE25-4672-92A2-9249CEBF869C}" dt="2024-02-22T07:05:41.143" v="12276" actId="1035"/>
          <ac:grpSpMkLst>
            <pc:docMk/>
            <pc:sldMk cId="3257119872" sldId="2146846981"/>
            <ac:grpSpMk id="27" creationId="{68A9E7C1-EFAC-44AF-D95A-9F002EE21846}"/>
          </ac:grpSpMkLst>
        </pc:grpChg>
        <pc:grpChg chg="add mod">
          <ac:chgData name="Siddhartha Paul" userId="0f6d2a28-7c6e-4106-a327-1058fe8b7c05" providerId="ADAL" clId="{C15EC1BA-EE25-4672-92A2-9249CEBF869C}" dt="2024-02-22T07:05:41.143" v="12276" actId="1035"/>
          <ac:grpSpMkLst>
            <pc:docMk/>
            <pc:sldMk cId="3257119872" sldId="2146846981"/>
            <ac:grpSpMk id="31" creationId="{A1A57D42-3A03-8F03-6E6C-18A61DD30B1A}"/>
          </ac:grpSpMkLst>
        </pc:grpChg>
        <pc:picChg chg="mod">
          <ac:chgData name="Siddhartha Paul" userId="0f6d2a28-7c6e-4106-a327-1058fe8b7c05" providerId="ADAL" clId="{C15EC1BA-EE25-4672-92A2-9249CEBF869C}" dt="2024-02-22T07:05:41.143" v="12276" actId="1035"/>
          <ac:picMkLst>
            <pc:docMk/>
            <pc:sldMk cId="3257119872" sldId="2146846981"/>
            <ac:picMk id="6" creationId="{5E908CF9-2863-AF3B-A8D4-5E5F4CE156A1}"/>
          </ac:picMkLst>
        </pc:picChg>
        <pc:picChg chg="mod">
          <ac:chgData name="Siddhartha Paul" userId="0f6d2a28-7c6e-4106-a327-1058fe8b7c05" providerId="ADAL" clId="{C15EC1BA-EE25-4672-92A2-9249CEBF869C}" dt="2024-02-22T07:06:30.309" v="12314" actId="1035"/>
          <ac:picMkLst>
            <pc:docMk/>
            <pc:sldMk cId="3257119872" sldId="2146846981"/>
            <ac:picMk id="14" creationId="{49A6980A-9620-5D4A-85C1-2E7AFC2F4CBC}"/>
          </ac:picMkLst>
        </pc:picChg>
        <pc:picChg chg="mod">
          <ac:chgData name="Siddhartha Paul" userId="0f6d2a28-7c6e-4106-a327-1058fe8b7c05" providerId="ADAL" clId="{C15EC1BA-EE25-4672-92A2-9249CEBF869C}" dt="2024-02-22T07:05:41.143" v="12276" actId="1035"/>
          <ac:picMkLst>
            <pc:docMk/>
            <pc:sldMk cId="3257119872" sldId="2146846981"/>
            <ac:picMk id="15" creationId="{4D937F82-4640-0AFB-232A-268955E39EC8}"/>
          </ac:picMkLst>
        </pc:picChg>
        <pc:picChg chg="mod">
          <ac:chgData name="Siddhartha Paul" userId="0f6d2a28-7c6e-4106-a327-1058fe8b7c05" providerId="ADAL" clId="{C15EC1BA-EE25-4672-92A2-9249CEBF869C}" dt="2024-02-22T07:05:41.143" v="12276" actId="1035"/>
          <ac:picMkLst>
            <pc:docMk/>
            <pc:sldMk cId="3257119872" sldId="2146846981"/>
            <ac:picMk id="18" creationId="{FC4F6EDE-9FE2-0C70-0A81-5DAF31298F02}"/>
          </ac:picMkLst>
        </pc:picChg>
        <pc:picChg chg="mod">
          <ac:chgData name="Siddhartha Paul" userId="0f6d2a28-7c6e-4106-a327-1058fe8b7c05" providerId="ADAL" clId="{C15EC1BA-EE25-4672-92A2-9249CEBF869C}" dt="2024-02-22T07:05:41.143" v="12276" actId="1035"/>
          <ac:picMkLst>
            <pc:docMk/>
            <pc:sldMk cId="3257119872" sldId="2146846981"/>
            <ac:picMk id="20" creationId="{66B7529D-562B-3DFF-865D-3885D123AE0E}"/>
          </ac:picMkLst>
        </pc:picChg>
        <pc:picChg chg="mod">
          <ac:chgData name="Siddhartha Paul" userId="0f6d2a28-7c6e-4106-a327-1058fe8b7c05" providerId="ADAL" clId="{C15EC1BA-EE25-4672-92A2-9249CEBF869C}" dt="2024-02-22T07:05:41.143" v="12276" actId="1035"/>
          <ac:picMkLst>
            <pc:docMk/>
            <pc:sldMk cId="3257119872" sldId="2146846981"/>
            <ac:picMk id="24" creationId="{6E229935-1C9C-FF24-6FF3-008C34E9060C}"/>
          </ac:picMkLst>
        </pc:picChg>
        <pc:picChg chg="mod">
          <ac:chgData name="Siddhartha Paul" userId="0f6d2a28-7c6e-4106-a327-1058fe8b7c05" providerId="ADAL" clId="{C15EC1BA-EE25-4672-92A2-9249CEBF869C}" dt="2024-02-22T07:05:41.143" v="12276" actId="1035"/>
          <ac:picMkLst>
            <pc:docMk/>
            <pc:sldMk cId="3257119872" sldId="2146846981"/>
            <ac:picMk id="29" creationId="{1CE37C71-166A-1285-C653-B73959AAE005}"/>
          </ac:picMkLst>
        </pc:picChg>
        <pc:picChg chg="mod">
          <ac:chgData name="Siddhartha Paul" userId="0f6d2a28-7c6e-4106-a327-1058fe8b7c05" providerId="ADAL" clId="{C15EC1BA-EE25-4672-92A2-9249CEBF869C}" dt="2024-02-22T07:05:41.143" v="12276" actId="1035"/>
          <ac:picMkLst>
            <pc:docMk/>
            <pc:sldMk cId="3257119872" sldId="2146846981"/>
            <ac:picMk id="33" creationId="{BD8D1D25-F9EC-B7CF-CCB0-126496FE7C17}"/>
          </ac:picMkLst>
        </pc:picChg>
        <pc:picChg chg="add del">
          <ac:chgData name="Siddhartha Paul" userId="0f6d2a28-7c6e-4106-a327-1058fe8b7c05" providerId="ADAL" clId="{C15EC1BA-EE25-4672-92A2-9249CEBF869C}" dt="2024-02-22T10:20:41.549" v="12474" actId="478"/>
          <ac:picMkLst>
            <pc:docMk/>
            <pc:sldMk cId="3257119872" sldId="2146846981"/>
            <ac:picMk id="38" creationId="{3B8E3733-C855-8485-4B8E-75F42AA29558}"/>
          </ac:picMkLst>
        </pc:picChg>
        <pc:picChg chg="add del">
          <ac:chgData name="Siddhartha Paul" userId="0f6d2a28-7c6e-4106-a327-1058fe8b7c05" providerId="ADAL" clId="{C15EC1BA-EE25-4672-92A2-9249CEBF869C}" dt="2024-02-22T10:20:46.766" v="12476" actId="22"/>
          <ac:picMkLst>
            <pc:docMk/>
            <pc:sldMk cId="3257119872" sldId="2146846981"/>
            <ac:picMk id="40" creationId="{75E51BCB-807C-CD20-4BD1-A15A01ED55F4}"/>
          </ac:picMkLst>
        </pc:picChg>
        <pc:picChg chg="add mod">
          <ac:chgData name="Siddhartha Paul" userId="0f6d2a28-7c6e-4106-a327-1058fe8b7c05" providerId="ADAL" clId="{C15EC1BA-EE25-4672-92A2-9249CEBF869C}" dt="2024-02-22T10:23:10.678" v="12548" actId="1076"/>
          <ac:picMkLst>
            <pc:docMk/>
            <pc:sldMk cId="3257119872" sldId="2146846981"/>
            <ac:picMk id="45" creationId="{E96884BD-C87E-1B2C-64A3-737083542C51}"/>
          </ac:picMkLst>
        </pc:picChg>
        <pc:cxnChg chg="add mod">
          <ac:chgData name="Siddhartha Paul" userId="0f6d2a28-7c6e-4106-a327-1058fe8b7c05" providerId="ADAL" clId="{C15EC1BA-EE25-4672-92A2-9249CEBF869C}" dt="2024-02-22T10:20:31.735" v="12472" actId="1582"/>
          <ac:cxnSpMkLst>
            <pc:docMk/>
            <pc:sldMk cId="3257119872" sldId="2146846981"/>
            <ac:cxnSpMk id="36" creationId="{59088B9A-D78A-7514-A6A0-7784C945C8FA}"/>
          </ac:cxnSpMkLst>
        </pc:cxnChg>
        <pc:cxnChg chg="add mod">
          <ac:chgData name="Siddhartha Paul" userId="0f6d2a28-7c6e-4106-a327-1058fe8b7c05" providerId="ADAL" clId="{C15EC1BA-EE25-4672-92A2-9249CEBF869C}" dt="2024-02-22T10:21:30.080" v="12535" actId="1076"/>
          <ac:cxnSpMkLst>
            <pc:docMk/>
            <pc:sldMk cId="3257119872" sldId="2146846981"/>
            <ac:cxnSpMk id="42" creationId="{9F033482-73B7-EBB2-C11E-5CCD71C8FB8A}"/>
          </ac:cxnSpMkLst>
        </pc:cxnChg>
      </pc:sldChg>
      <pc:sldChg chg="del">
        <pc:chgData name="Siddhartha Paul" userId="0f6d2a28-7c6e-4106-a327-1058fe8b7c05" providerId="ADAL" clId="{C15EC1BA-EE25-4672-92A2-9249CEBF869C}" dt="2024-02-21T08:14:47.781" v="9402" actId="47"/>
        <pc:sldMkLst>
          <pc:docMk/>
          <pc:sldMk cId="2084025590" sldId="2146846982"/>
        </pc:sldMkLst>
      </pc:sldChg>
      <pc:sldChg chg="del">
        <pc:chgData name="Siddhartha Paul" userId="0f6d2a28-7c6e-4106-a327-1058fe8b7c05" providerId="ADAL" clId="{C15EC1BA-EE25-4672-92A2-9249CEBF869C}" dt="2024-02-20T18:54:01.028" v="2166" actId="47"/>
        <pc:sldMkLst>
          <pc:docMk/>
          <pc:sldMk cId="3229940305" sldId="2146847145"/>
        </pc:sldMkLst>
      </pc:sldChg>
      <pc:sldChg chg="del">
        <pc:chgData name="Siddhartha Paul" userId="0f6d2a28-7c6e-4106-a327-1058fe8b7c05" providerId="ADAL" clId="{C15EC1BA-EE25-4672-92A2-9249CEBF869C}" dt="2024-02-20T18:54:01.028" v="2166" actId="47"/>
        <pc:sldMkLst>
          <pc:docMk/>
          <pc:sldMk cId="3522841992" sldId="2146847167"/>
        </pc:sldMkLst>
      </pc:sldChg>
      <pc:sldChg chg="del">
        <pc:chgData name="Siddhartha Paul" userId="0f6d2a28-7c6e-4106-a327-1058fe8b7c05" providerId="ADAL" clId="{C15EC1BA-EE25-4672-92A2-9249CEBF869C}" dt="2024-02-20T18:54:01.028" v="2166" actId="47"/>
        <pc:sldMkLst>
          <pc:docMk/>
          <pc:sldMk cId="924420403" sldId="2146847169"/>
        </pc:sldMkLst>
      </pc:sldChg>
      <pc:sldChg chg="del">
        <pc:chgData name="Siddhartha Paul" userId="0f6d2a28-7c6e-4106-a327-1058fe8b7c05" providerId="ADAL" clId="{C15EC1BA-EE25-4672-92A2-9249CEBF869C}" dt="2024-02-20T18:54:01.028" v="2166" actId="47"/>
        <pc:sldMkLst>
          <pc:docMk/>
          <pc:sldMk cId="1859880396" sldId="2146847170"/>
        </pc:sldMkLst>
      </pc:sldChg>
      <pc:sldChg chg="del">
        <pc:chgData name="Siddhartha Paul" userId="0f6d2a28-7c6e-4106-a327-1058fe8b7c05" providerId="ADAL" clId="{C15EC1BA-EE25-4672-92A2-9249CEBF869C}" dt="2024-02-20T18:54:01.028" v="2166" actId="47"/>
        <pc:sldMkLst>
          <pc:docMk/>
          <pc:sldMk cId="115436397" sldId="2146847171"/>
        </pc:sldMkLst>
      </pc:sldChg>
      <pc:sldChg chg="del">
        <pc:chgData name="Siddhartha Paul" userId="0f6d2a28-7c6e-4106-a327-1058fe8b7c05" providerId="ADAL" clId="{C15EC1BA-EE25-4672-92A2-9249CEBF869C}" dt="2024-02-20T18:54:01.028" v="2166" actId="47"/>
        <pc:sldMkLst>
          <pc:docMk/>
          <pc:sldMk cId="693178687" sldId="2146847172"/>
        </pc:sldMkLst>
      </pc:sldChg>
      <pc:sldChg chg="del">
        <pc:chgData name="Siddhartha Paul" userId="0f6d2a28-7c6e-4106-a327-1058fe8b7c05" providerId="ADAL" clId="{C15EC1BA-EE25-4672-92A2-9249CEBF869C}" dt="2024-02-20T18:54:01.028" v="2166" actId="47"/>
        <pc:sldMkLst>
          <pc:docMk/>
          <pc:sldMk cId="581006039" sldId="2146847173"/>
        </pc:sldMkLst>
      </pc:sldChg>
      <pc:sldChg chg="del">
        <pc:chgData name="Siddhartha Paul" userId="0f6d2a28-7c6e-4106-a327-1058fe8b7c05" providerId="ADAL" clId="{C15EC1BA-EE25-4672-92A2-9249CEBF869C}" dt="2024-02-20T18:54:01.028" v="2166" actId="47"/>
        <pc:sldMkLst>
          <pc:docMk/>
          <pc:sldMk cId="3084479614" sldId="2146847174"/>
        </pc:sldMkLst>
      </pc:sldChg>
      <pc:sldChg chg="del">
        <pc:chgData name="Siddhartha Paul" userId="0f6d2a28-7c6e-4106-a327-1058fe8b7c05" providerId="ADAL" clId="{C15EC1BA-EE25-4672-92A2-9249CEBF869C}" dt="2024-02-20T18:54:01.028" v="2166" actId="47"/>
        <pc:sldMkLst>
          <pc:docMk/>
          <pc:sldMk cId="3951209347" sldId="2146847181"/>
        </pc:sldMkLst>
      </pc:sldChg>
      <pc:sldChg chg="del">
        <pc:chgData name="Siddhartha Paul" userId="0f6d2a28-7c6e-4106-a327-1058fe8b7c05" providerId="ADAL" clId="{C15EC1BA-EE25-4672-92A2-9249CEBF869C}" dt="2024-02-20T18:54:07.719" v="2168" actId="47"/>
        <pc:sldMkLst>
          <pc:docMk/>
          <pc:sldMk cId="2234151696" sldId="2146847191"/>
        </pc:sldMkLst>
      </pc:sldChg>
      <pc:sldChg chg="del">
        <pc:chgData name="Siddhartha Paul" userId="0f6d2a28-7c6e-4106-a327-1058fe8b7c05" providerId="ADAL" clId="{C15EC1BA-EE25-4672-92A2-9249CEBF869C}" dt="2024-02-21T08:14:47.781" v="9402" actId="47"/>
        <pc:sldMkLst>
          <pc:docMk/>
          <pc:sldMk cId="1054810125" sldId="2146847192"/>
        </pc:sldMkLst>
      </pc:sldChg>
      <pc:sldChg chg="del">
        <pc:chgData name="Siddhartha Paul" userId="0f6d2a28-7c6e-4106-a327-1058fe8b7c05" providerId="ADAL" clId="{C15EC1BA-EE25-4672-92A2-9249CEBF869C}" dt="2024-02-20T18:54:07.719" v="2168" actId="47"/>
        <pc:sldMkLst>
          <pc:docMk/>
          <pc:sldMk cId="3759001992" sldId="2146847193"/>
        </pc:sldMkLst>
      </pc:sldChg>
      <pc:sldChg chg="del">
        <pc:chgData name="Siddhartha Paul" userId="0f6d2a28-7c6e-4106-a327-1058fe8b7c05" providerId="ADAL" clId="{C15EC1BA-EE25-4672-92A2-9249CEBF869C}" dt="2024-02-21T08:14:47.781" v="9402" actId="47"/>
        <pc:sldMkLst>
          <pc:docMk/>
          <pc:sldMk cId="3240666530" sldId="2146847197"/>
        </pc:sldMkLst>
      </pc:sldChg>
      <pc:sldChg chg="del">
        <pc:chgData name="Siddhartha Paul" userId="0f6d2a28-7c6e-4106-a327-1058fe8b7c05" providerId="ADAL" clId="{C15EC1BA-EE25-4672-92A2-9249CEBF869C}" dt="2024-02-21T08:14:47.781" v="9402" actId="47"/>
        <pc:sldMkLst>
          <pc:docMk/>
          <pc:sldMk cId="501481557" sldId="2146847198"/>
        </pc:sldMkLst>
      </pc:sldChg>
      <pc:sldChg chg="del">
        <pc:chgData name="Siddhartha Paul" userId="0f6d2a28-7c6e-4106-a327-1058fe8b7c05" providerId="ADAL" clId="{C15EC1BA-EE25-4672-92A2-9249CEBF869C}" dt="2024-02-21T08:14:47.781" v="9402" actId="47"/>
        <pc:sldMkLst>
          <pc:docMk/>
          <pc:sldMk cId="1251529182" sldId="2146847199"/>
        </pc:sldMkLst>
      </pc:sldChg>
      <pc:sldChg chg="del">
        <pc:chgData name="Siddhartha Paul" userId="0f6d2a28-7c6e-4106-a327-1058fe8b7c05" providerId="ADAL" clId="{C15EC1BA-EE25-4672-92A2-9249CEBF869C}" dt="2024-02-20T18:54:02.905" v="2167" actId="47"/>
        <pc:sldMkLst>
          <pc:docMk/>
          <pc:sldMk cId="633588930" sldId="2146847200"/>
        </pc:sldMkLst>
      </pc:sldChg>
      <pc:sldChg chg="del">
        <pc:chgData name="Siddhartha Paul" userId="0f6d2a28-7c6e-4106-a327-1058fe8b7c05" providerId="ADAL" clId="{C15EC1BA-EE25-4672-92A2-9249CEBF869C}" dt="2024-02-20T18:54:01.028" v="2166" actId="47"/>
        <pc:sldMkLst>
          <pc:docMk/>
          <pc:sldMk cId="3748806731" sldId="2146847201"/>
        </pc:sldMkLst>
      </pc:sldChg>
      <pc:sldChg chg="del">
        <pc:chgData name="Siddhartha Paul" userId="0f6d2a28-7c6e-4106-a327-1058fe8b7c05" providerId="ADAL" clId="{C15EC1BA-EE25-4672-92A2-9249CEBF869C}" dt="2024-02-20T18:54:01.028" v="2166" actId="47"/>
        <pc:sldMkLst>
          <pc:docMk/>
          <pc:sldMk cId="2379397845" sldId="2146847202"/>
        </pc:sldMkLst>
      </pc:sldChg>
      <pc:sldChg chg="del">
        <pc:chgData name="Siddhartha Paul" userId="0f6d2a28-7c6e-4106-a327-1058fe8b7c05" providerId="ADAL" clId="{C15EC1BA-EE25-4672-92A2-9249CEBF869C}" dt="2024-02-20T18:54:09.535" v="2169" actId="47"/>
        <pc:sldMkLst>
          <pc:docMk/>
          <pc:sldMk cId="2695242718" sldId="2146847203"/>
        </pc:sldMkLst>
      </pc:sldChg>
      <pc:sldChg chg="addSp delSp modSp add mod ord modAnim modNotesTx">
        <pc:chgData name="Siddhartha Paul" userId="0f6d2a28-7c6e-4106-a327-1058fe8b7c05" providerId="ADAL" clId="{C15EC1BA-EE25-4672-92A2-9249CEBF869C}" dt="2024-02-22T06:56:19.719" v="11889"/>
        <pc:sldMkLst>
          <pc:docMk/>
          <pc:sldMk cId="548198184" sldId="2146847204"/>
        </pc:sldMkLst>
        <pc:spChg chg="add del mod">
          <ac:chgData name="Siddhartha Paul" userId="0f6d2a28-7c6e-4106-a327-1058fe8b7c05" providerId="ADAL" clId="{C15EC1BA-EE25-4672-92A2-9249CEBF869C}" dt="2024-02-21T08:22:01.537" v="9473" actId="478"/>
          <ac:spMkLst>
            <pc:docMk/>
            <pc:sldMk cId="548198184" sldId="2146847204"/>
            <ac:spMk id="2" creationId="{4BC6D58C-B6DE-04AA-0975-E2B30BE0791C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2" creationId="{4FEB1F0F-A218-0A0A-B93B-49E16F127F27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3" creationId="{ECBE5987-61A3-7366-BE37-C69C4DF0F402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4" creationId="{56BC294C-D409-4CF1-1823-A54DF2FA6353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5" creationId="{133475E4-5610-662E-A472-920B648E7619}"/>
          </ac:spMkLst>
        </pc:spChg>
        <pc:spChg chg="add mod">
          <ac:chgData name="Siddhartha Paul" userId="0f6d2a28-7c6e-4106-a327-1058fe8b7c05" providerId="ADAL" clId="{C15EC1BA-EE25-4672-92A2-9249CEBF869C}" dt="2024-02-21T08:24:07.290" v="9575" actId="1036"/>
          <ac:spMkLst>
            <pc:docMk/>
            <pc:sldMk cId="548198184" sldId="2146847204"/>
            <ac:spMk id="6" creationId="{69508DB8-C63B-653A-455D-6FAFBDBDC986}"/>
          </ac:spMkLst>
        </pc:spChg>
        <pc:spChg chg="mod">
          <ac:chgData name="Siddhartha Paul" userId="0f6d2a28-7c6e-4106-a327-1058fe8b7c05" providerId="ADAL" clId="{C15EC1BA-EE25-4672-92A2-9249CEBF869C}" dt="2024-02-21T08:06:35.963" v="9245" actId="207"/>
          <ac:spMkLst>
            <pc:docMk/>
            <pc:sldMk cId="548198184" sldId="2146847204"/>
            <ac:spMk id="7" creationId="{238D0DE0-522F-29B0-8202-964439F707B1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8" creationId="{F22C13A2-800C-F7FC-D358-43247B6B920D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9" creationId="{4E93EB9B-D064-AAB6-E8D1-B62181183A32}"/>
          </ac:spMkLst>
        </pc:spChg>
        <pc:spChg chg="add mod">
          <ac:chgData name="Siddhartha Paul" userId="0f6d2a28-7c6e-4106-a327-1058fe8b7c05" providerId="ADAL" clId="{C15EC1BA-EE25-4672-92A2-9249CEBF869C}" dt="2024-02-21T08:24:07.290" v="9575" actId="1036"/>
          <ac:spMkLst>
            <pc:docMk/>
            <pc:sldMk cId="548198184" sldId="2146847204"/>
            <ac:spMk id="9" creationId="{627A6D92-E1C9-4C36-09B1-B9D79F1D3AC4}"/>
          </ac:spMkLst>
        </pc:spChg>
        <pc:spChg chg="add mod">
          <ac:chgData name="Siddhartha Paul" userId="0f6d2a28-7c6e-4106-a327-1058fe8b7c05" providerId="ADAL" clId="{C15EC1BA-EE25-4672-92A2-9249CEBF869C}" dt="2024-02-21T08:26:14.267" v="9587" actId="14100"/>
          <ac:spMkLst>
            <pc:docMk/>
            <pc:sldMk cId="548198184" sldId="2146847204"/>
            <ac:spMk id="10" creationId="{46B7E8F0-0815-9105-CD2A-52C2C9EE4C4D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10" creationId="{A9070B5C-280A-8597-BC8E-6BC71DCD4854}"/>
          </ac:spMkLst>
        </pc:spChg>
        <pc:spChg chg="add del mod">
          <ac:chgData name="Siddhartha Paul" userId="0f6d2a28-7c6e-4106-a327-1058fe8b7c05" providerId="ADAL" clId="{C15EC1BA-EE25-4672-92A2-9249CEBF869C}" dt="2024-02-21T08:17:59.169" v="9444" actId="478"/>
          <ac:spMkLst>
            <pc:docMk/>
            <pc:sldMk cId="548198184" sldId="2146847204"/>
            <ac:spMk id="11" creationId="{13CFCFAF-BF31-6170-9EF4-97FB5938B760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11" creationId="{24DAC135-6A83-B117-080D-429F0FFAD49B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12" creationId="{20784E6D-227A-62EF-E844-C31B8D3AB5EE}"/>
          </ac:spMkLst>
        </pc:spChg>
        <pc:spChg chg="add mod">
          <ac:chgData name="Siddhartha Paul" userId="0f6d2a28-7c6e-4106-a327-1058fe8b7c05" providerId="ADAL" clId="{C15EC1BA-EE25-4672-92A2-9249CEBF869C}" dt="2024-02-21T08:26:01.917" v="9585" actId="14100"/>
          <ac:spMkLst>
            <pc:docMk/>
            <pc:sldMk cId="548198184" sldId="2146847204"/>
            <ac:spMk id="12" creationId="{DD87BA7C-A696-DD1F-D786-7F33D125152A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13" creationId="{0EBB4C6B-7824-797C-5496-8EBD351621F4}"/>
          </ac:spMkLst>
        </pc:spChg>
        <pc:spChg chg="add mod">
          <ac:chgData name="Siddhartha Paul" userId="0f6d2a28-7c6e-4106-a327-1058fe8b7c05" providerId="ADAL" clId="{C15EC1BA-EE25-4672-92A2-9249CEBF869C}" dt="2024-02-21T08:24:07.290" v="9575" actId="1036"/>
          <ac:spMkLst>
            <pc:docMk/>
            <pc:sldMk cId="548198184" sldId="2146847204"/>
            <ac:spMk id="14" creationId="{26BB332F-480F-CDC7-2F2F-50AA0B4D6556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14" creationId="{FBD2E7DE-E53C-DDB0-A54D-625B6D645FCB}"/>
          </ac:spMkLst>
        </pc:spChg>
        <pc:spChg chg="add mod">
          <ac:chgData name="Siddhartha Paul" userId="0f6d2a28-7c6e-4106-a327-1058fe8b7c05" providerId="ADAL" clId="{C15EC1BA-EE25-4672-92A2-9249CEBF869C}" dt="2024-02-21T08:22:48.690" v="9530" actId="1076"/>
          <ac:spMkLst>
            <pc:docMk/>
            <pc:sldMk cId="548198184" sldId="2146847204"/>
            <ac:spMk id="15" creationId="{2CBC999C-3C3B-E3CD-5130-3820A98C48E2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15" creationId="{8167C3E0-DD78-98DE-C119-079B3EA71AAF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16" creationId="{E68F101F-92B7-E8DC-C921-835C67C616FF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17" creationId="{7BCC90BD-09BE-400E-6711-A7E1985A2226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18" creationId="{456E4A8D-1B4D-F0B9-8AA2-5D5A1E59BC6C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19" creationId="{A956CAC2-38A0-00EA-C994-B766A407CC60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20" creationId="{A51A7794-B068-0C20-D8B6-0A8DBD580D19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21" creationId="{56924E0E-ACCE-A067-26B3-3EFF7ACFA234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22" creationId="{653CFBA2-0F5D-BE0B-7060-572B8F48F25D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23" creationId="{9F8488B2-6F38-5CE0-C77D-90EDF40E28F7}"/>
          </ac:spMkLst>
        </pc:spChg>
        <pc:spChg chg="add mod">
          <ac:chgData name="Siddhartha Paul" userId="0f6d2a28-7c6e-4106-a327-1058fe8b7c05" providerId="ADAL" clId="{C15EC1BA-EE25-4672-92A2-9249CEBF869C}" dt="2024-02-22T05:41:25.950" v="10955" actId="1076"/>
          <ac:spMkLst>
            <pc:docMk/>
            <pc:sldMk cId="548198184" sldId="2146847204"/>
            <ac:spMk id="23" creationId="{B10418DD-C3A2-E431-D795-867AB63B80BC}"/>
          </ac:spMkLst>
        </pc:spChg>
        <pc:spChg chg="add del mod">
          <ac:chgData name="Siddhartha Paul" userId="0f6d2a28-7c6e-4106-a327-1058fe8b7c05" providerId="ADAL" clId="{C15EC1BA-EE25-4672-92A2-9249CEBF869C}" dt="2024-02-22T06:56:19.360" v="11888" actId="478"/>
          <ac:spMkLst>
            <pc:docMk/>
            <pc:sldMk cId="548198184" sldId="2146847204"/>
            <ac:spMk id="25" creationId="{B83AB592-8FBC-1EED-4CDD-EA3C85EA7D4C}"/>
          </ac:spMkLst>
        </pc:spChg>
        <pc:spChg chg="add del mod">
          <ac:chgData name="Siddhartha Paul" userId="0f6d2a28-7c6e-4106-a327-1058fe8b7c05" providerId="ADAL" clId="{C15EC1BA-EE25-4672-92A2-9249CEBF869C}" dt="2024-02-22T06:21:56.864" v="11530" actId="478"/>
          <ac:spMkLst>
            <pc:docMk/>
            <pc:sldMk cId="548198184" sldId="2146847204"/>
            <ac:spMk id="27" creationId="{FF9A0E32-FC01-F318-B29D-583A6FE2DE35}"/>
          </ac:spMkLst>
        </pc:spChg>
        <pc:spChg chg="add mod">
          <ac:chgData name="Siddhartha Paul" userId="0f6d2a28-7c6e-4106-a327-1058fe8b7c05" providerId="ADAL" clId="{C15EC1BA-EE25-4672-92A2-9249CEBF869C}" dt="2024-02-22T05:41:22.142" v="10954"/>
          <ac:spMkLst>
            <pc:docMk/>
            <pc:sldMk cId="548198184" sldId="2146847204"/>
            <ac:spMk id="29" creationId="{AAD38660-D96F-D76E-4A72-E1823D314B7D}"/>
          </ac:spMkLst>
        </pc:spChg>
        <pc:spChg chg="add mod">
          <ac:chgData name="Siddhartha Paul" userId="0f6d2a28-7c6e-4106-a327-1058fe8b7c05" providerId="ADAL" clId="{C15EC1BA-EE25-4672-92A2-9249CEBF869C}" dt="2024-02-22T05:41:22.142" v="10954"/>
          <ac:spMkLst>
            <pc:docMk/>
            <pc:sldMk cId="548198184" sldId="2146847204"/>
            <ac:spMk id="30" creationId="{9D25E47B-3A57-5133-842D-16F99AFD1E12}"/>
          </ac:spMkLst>
        </pc:spChg>
        <pc:spChg chg="add mod">
          <ac:chgData name="Siddhartha Paul" userId="0f6d2a28-7c6e-4106-a327-1058fe8b7c05" providerId="ADAL" clId="{C15EC1BA-EE25-4672-92A2-9249CEBF869C}" dt="2024-02-22T05:41:22.142" v="10954"/>
          <ac:spMkLst>
            <pc:docMk/>
            <pc:sldMk cId="548198184" sldId="2146847204"/>
            <ac:spMk id="31" creationId="{8738D5D3-CAB8-E671-3CBF-37D66706F528}"/>
          </ac:spMkLst>
        </pc:spChg>
        <pc:spChg chg="add mod">
          <ac:chgData name="Siddhartha Paul" userId="0f6d2a28-7c6e-4106-a327-1058fe8b7c05" providerId="ADAL" clId="{C15EC1BA-EE25-4672-92A2-9249CEBF869C}" dt="2024-02-22T05:41:22.142" v="10954"/>
          <ac:spMkLst>
            <pc:docMk/>
            <pc:sldMk cId="548198184" sldId="2146847204"/>
            <ac:spMk id="33" creationId="{15F937EA-9DCD-1745-115F-5A2DD8BDAFA0}"/>
          </ac:spMkLst>
        </pc:spChg>
        <pc:spChg chg="add mod">
          <ac:chgData name="Siddhartha Paul" userId="0f6d2a28-7c6e-4106-a327-1058fe8b7c05" providerId="ADAL" clId="{C15EC1BA-EE25-4672-92A2-9249CEBF869C}" dt="2024-02-22T06:21:57.274" v="11531"/>
          <ac:spMkLst>
            <pc:docMk/>
            <pc:sldMk cId="548198184" sldId="2146847204"/>
            <ac:spMk id="34" creationId="{DA04539D-355E-E078-628D-DD0CDE6D5C02}"/>
          </ac:spMkLst>
        </pc:spChg>
        <pc:spChg chg="add mod">
          <ac:chgData name="Siddhartha Paul" userId="0f6d2a28-7c6e-4106-a327-1058fe8b7c05" providerId="ADAL" clId="{C15EC1BA-EE25-4672-92A2-9249CEBF869C}" dt="2024-02-22T06:56:19.719" v="11889"/>
          <ac:spMkLst>
            <pc:docMk/>
            <pc:sldMk cId="548198184" sldId="2146847204"/>
            <ac:spMk id="35" creationId="{8A632739-C01A-C44B-5BF0-BE0C4F365AB1}"/>
          </ac:spMkLst>
        </pc:spChg>
        <pc:spChg chg="add mod">
          <ac:chgData name="Siddhartha Paul" userId="0f6d2a28-7c6e-4106-a327-1058fe8b7c05" providerId="ADAL" clId="{C15EC1BA-EE25-4672-92A2-9249CEBF869C}" dt="2024-02-21T08:24:07.290" v="9575" actId="1036"/>
          <ac:spMkLst>
            <pc:docMk/>
            <pc:sldMk cId="548198184" sldId="2146847204"/>
            <ac:spMk id="41" creationId="{5FD776E9-0E28-15D0-F8A5-058FD8FA8BE2}"/>
          </ac:spMkLst>
        </pc:spChg>
        <pc:spChg chg="add mod">
          <ac:chgData name="Siddhartha Paul" userId="0f6d2a28-7c6e-4106-a327-1058fe8b7c05" providerId="ADAL" clId="{C15EC1BA-EE25-4672-92A2-9249CEBF869C}" dt="2024-02-21T08:24:07.290" v="9575" actId="1036"/>
          <ac:spMkLst>
            <pc:docMk/>
            <pc:sldMk cId="548198184" sldId="2146847204"/>
            <ac:spMk id="42" creationId="{E5FC833A-7C5C-93EF-EDA1-4F32559D12CC}"/>
          </ac:spMkLst>
        </pc:spChg>
        <pc:spChg chg="add mod">
          <ac:chgData name="Siddhartha Paul" userId="0f6d2a28-7c6e-4106-a327-1058fe8b7c05" providerId="ADAL" clId="{C15EC1BA-EE25-4672-92A2-9249CEBF869C}" dt="2024-02-21T08:24:07.290" v="9575" actId="1036"/>
          <ac:spMkLst>
            <pc:docMk/>
            <pc:sldMk cId="548198184" sldId="2146847204"/>
            <ac:spMk id="45" creationId="{A7749071-9BFE-A330-B83F-884EF07EFE8F}"/>
          </ac:spMkLst>
        </pc:spChg>
        <pc:spChg chg="add mod">
          <ac:chgData name="Siddhartha Paul" userId="0f6d2a28-7c6e-4106-a327-1058fe8b7c05" providerId="ADAL" clId="{C15EC1BA-EE25-4672-92A2-9249CEBF869C}" dt="2024-02-21T08:24:07.290" v="9575" actId="1036"/>
          <ac:spMkLst>
            <pc:docMk/>
            <pc:sldMk cId="548198184" sldId="2146847204"/>
            <ac:spMk id="46" creationId="{D1842B2F-C570-33FB-7D8B-5A8DA05229E7}"/>
          </ac:spMkLst>
        </pc:spChg>
        <pc:spChg chg="add mod">
          <ac:chgData name="Siddhartha Paul" userId="0f6d2a28-7c6e-4106-a327-1058fe8b7c05" providerId="ADAL" clId="{C15EC1BA-EE25-4672-92A2-9249CEBF869C}" dt="2024-02-21T08:24:07.290" v="9575" actId="1036"/>
          <ac:spMkLst>
            <pc:docMk/>
            <pc:sldMk cId="548198184" sldId="2146847204"/>
            <ac:spMk id="47" creationId="{05DA9612-69A3-7F19-DAE0-C09CDD7A1422}"/>
          </ac:spMkLst>
        </pc:spChg>
        <pc:spChg chg="add mod">
          <ac:chgData name="Siddhartha Paul" userId="0f6d2a28-7c6e-4106-a327-1058fe8b7c05" providerId="ADAL" clId="{C15EC1BA-EE25-4672-92A2-9249CEBF869C}" dt="2024-02-21T08:24:07.290" v="9575" actId="1036"/>
          <ac:spMkLst>
            <pc:docMk/>
            <pc:sldMk cId="548198184" sldId="2146847204"/>
            <ac:spMk id="48" creationId="{791A7A6D-D1E4-60EF-EB31-F4420B0ECFC7}"/>
          </ac:spMkLst>
        </pc:spChg>
        <pc:spChg chg="add mod">
          <ac:chgData name="Siddhartha Paul" userId="0f6d2a28-7c6e-4106-a327-1058fe8b7c05" providerId="ADAL" clId="{C15EC1BA-EE25-4672-92A2-9249CEBF869C}" dt="2024-02-21T08:24:07.290" v="9575" actId="1036"/>
          <ac:spMkLst>
            <pc:docMk/>
            <pc:sldMk cId="548198184" sldId="2146847204"/>
            <ac:spMk id="50" creationId="{7906368B-6363-A618-B1AE-90CB2BE7FA3E}"/>
          </ac:spMkLst>
        </pc:spChg>
        <pc:spChg chg="add mod">
          <ac:chgData name="Siddhartha Paul" userId="0f6d2a28-7c6e-4106-a327-1058fe8b7c05" providerId="ADAL" clId="{C15EC1BA-EE25-4672-92A2-9249CEBF869C}" dt="2024-02-21T08:24:07.290" v="9575" actId="1036"/>
          <ac:spMkLst>
            <pc:docMk/>
            <pc:sldMk cId="548198184" sldId="2146847204"/>
            <ac:spMk id="51" creationId="{48C529CD-1FC7-647B-C4B8-513600A7C5B6}"/>
          </ac:spMkLst>
        </pc:spChg>
        <pc:spChg chg="add del mod">
          <ac:chgData name="Siddhartha Paul" userId="0f6d2a28-7c6e-4106-a327-1058fe8b7c05" providerId="ADAL" clId="{C15EC1BA-EE25-4672-92A2-9249CEBF869C}" dt="2024-02-21T08:06:40.038" v="9246" actId="478"/>
          <ac:spMkLst>
            <pc:docMk/>
            <pc:sldMk cId="548198184" sldId="2146847204"/>
            <ac:spMk id="61" creationId="{43E108D8-12F1-085C-C0F6-E60A2E20803D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1071" creationId="{7103B0A3-12E4-D6E5-C519-6CF7705B78B2}"/>
          </ac:spMkLst>
        </pc:spChg>
        <pc:spChg chg="del">
          <ac:chgData name="Siddhartha Paul" userId="0f6d2a28-7c6e-4106-a327-1058fe8b7c05" providerId="ADAL" clId="{C15EC1BA-EE25-4672-92A2-9249CEBF869C}" dt="2024-02-15T04:34:09.539" v="3" actId="478"/>
          <ac:spMkLst>
            <pc:docMk/>
            <pc:sldMk cId="548198184" sldId="2146847204"/>
            <ac:spMk id="1072" creationId="{9EB053D4-5945-03E1-B92A-B9A4C2EF81A4}"/>
          </ac:spMkLst>
        </pc:spChg>
        <pc:grpChg chg="del">
          <ac:chgData name="Siddhartha Paul" userId="0f6d2a28-7c6e-4106-a327-1058fe8b7c05" providerId="ADAL" clId="{C15EC1BA-EE25-4672-92A2-9249CEBF869C}" dt="2024-02-15T04:34:09.539" v="3" actId="478"/>
          <ac:grpSpMkLst>
            <pc:docMk/>
            <pc:sldMk cId="548198184" sldId="2146847204"/>
            <ac:grpSpMk id="54" creationId="{F32DC3F8-526E-5BCD-0272-C9069C9060D2}"/>
          </ac:grpSpMkLst>
        </pc:grpChg>
        <pc:grpChg chg="del">
          <ac:chgData name="Siddhartha Paul" userId="0f6d2a28-7c6e-4106-a327-1058fe8b7c05" providerId="ADAL" clId="{C15EC1BA-EE25-4672-92A2-9249CEBF869C}" dt="2024-02-15T04:34:09.539" v="3" actId="478"/>
          <ac:grpSpMkLst>
            <pc:docMk/>
            <pc:sldMk cId="548198184" sldId="2146847204"/>
            <ac:grpSpMk id="55" creationId="{1B33E259-9B16-1D5F-1062-D605B61D29E4}"/>
          </ac:grpSpMkLst>
        </pc:grpChg>
        <pc:grpChg chg="del">
          <ac:chgData name="Siddhartha Paul" userId="0f6d2a28-7c6e-4106-a327-1058fe8b7c05" providerId="ADAL" clId="{C15EC1BA-EE25-4672-92A2-9249CEBF869C}" dt="2024-02-15T04:34:09.539" v="3" actId="478"/>
          <ac:grpSpMkLst>
            <pc:docMk/>
            <pc:sldMk cId="548198184" sldId="2146847204"/>
            <ac:grpSpMk id="63" creationId="{560C41FE-22F5-27CB-CD5B-FB495015A4B2}"/>
          </ac:grpSpMkLst>
        </pc:grpChg>
        <pc:grpChg chg="del">
          <ac:chgData name="Siddhartha Paul" userId="0f6d2a28-7c6e-4106-a327-1058fe8b7c05" providerId="ADAL" clId="{C15EC1BA-EE25-4672-92A2-9249CEBF869C}" dt="2024-02-15T04:34:09.539" v="3" actId="478"/>
          <ac:grpSpMkLst>
            <pc:docMk/>
            <pc:sldMk cId="548198184" sldId="2146847204"/>
            <ac:grpSpMk id="1027" creationId="{7017D8F3-1555-CDEB-CD6B-47C7B427713F}"/>
          </ac:grpSpMkLst>
        </pc:grpChg>
        <pc:grpChg chg="del">
          <ac:chgData name="Siddhartha Paul" userId="0f6d2a28-7c6e-4106-a327-1058fe8b7c05" providerId="ADAL" clId="{C15EC1BA-EE25-4672-92A2-9249CEBF869C}" dt="2024-02-15T04:34:09.539" v="3" actId="478"/>
          <ac:grpSpMkLst>
            <pc:docMk/>
            <pc:sldMk cId="548198184" sldId="2146847204"/>
            <ac:grpSpMk id="1031" creationId="{FAE0499F-DAD8-7BCE-A419-962164D034A5}"/>
          </ac:grpSpMkLst>
        </pc:grpChg>
        <pc:grpChg chg="del">
          <ac:chgData name="Siddhartha Paul" userId="0f6d2a28-7c6e-4106-a327-1058fe8b7c05" providerId="ADAL" clId="{C15EC1BA-EE25-4672-92A2-9249CEBF869C}" dt="2024-02-15T04:34:09.539" v="3" actId="478"/>
          <ac:grpSpMkLst>
            <pc:docMk/>
            <pc:sldMk cId="548198184" sldId="2146847204"/>
            <ac:grpSpMk id="1035" creationId="{19EA51B1-4AF0-5406-5A13-A3DDF9153398}"/>
          </ac:grpSpMkLst>
        </pc:grpChg>
        <pc:grpChg chg="del">
          <ac:chgData name="Siddhartha Paul" userId="0f6d2a28-7c6e-4106-a327-1058fe8b7c05" providerId="ADAL" clId="{C15EC1BA-EE25-4672-92A2-9249CEBF869C}" dt="2024-02-15T04:34:09.539" v="3" actId="478"/>
          <ac:grpSpMkLst>
            <pc:docMk/>
            <pc:sldMk cId="548198184" sldId="2146847204"/>
            <ac:grpSpMk id="1045" creationId="{CABF87A7-0D8A-F67F-2D6F-83F7D4B6F820}"/>
          </ac:grpSpMkLst>
        </pc:grpChg>
        <pc:grpChg chg="del">
          <ac:chgData name="Siddhartha Paul" userId="0f6d2a28-7c6e-4106-a327-1058fe8b7c05" providerId="ADAL" clId="{C15EC1BA-EE25-4672-92A2-9249CEBF869C}" dt="2024-02-15T04:34:09.539" v="3" actId="478"/>
          <ac:grpSpMkLst>
            <pc:docMk/>
            <pc:sldMk cId="548198184" sldId="2146847204"/>
            <ac:grpSpMk id="1049" creationId="{433C0022-30DA-78F2-AC85-41034F4C2FBE}"/>
          </ac:grpSpMkLst>
        </pc:grpChg>
        <pc:picChg chg="add mod modCrop">
          <ac:chgData name="Siddhartha Paul" userId="0f6d2a28-7c6e-4106-a327-1058fe8b7c05" providerId="ADAL" clId="{C15EC1BA-EE25-4672-92A2-9249CEBF869C}" dt="2024-02-21T08:25:31.639" v="9583" actId="732"/>
          <ac:picMkLst>
            <pc:docMk/>
            <pc:sldMk cId="548198184" sldId="2146847204"/>
            <ac:picMk id="17" creationId="{F5AEABF1-AC3F-D740-2956-A53A3282ADE9}"/>
          </ac:picMkLst>
        </pc:picChg>
        <pc:cxnChg chg="add mod">
          <ac:chgData name="Siddhartha Paul" userId="0f6d2a28-7c6e-4106-a327-1058fe8b7c05" providerId="ADAL" clId="{C15EC1BA-EE25-4672-92A2-9249CEBF869C}" dt="2024-02-21T08:24:28.434" v="9578" actId="14100"/>
          <ac:cxnSpMkLst>
            <pc:docMk/>
            <pc:sldMk cId="548198184" sldId="2146847204"/>
            <ac:cxnSpMk id="4" creationId="{800B7797-6A77-BB48-06C5-8A3E38EF7490}"/>
          </ac:cxnSpMkLst>
        </pc:cxnChg>
        <pc:cxnChg chg="add mod">
          <ac:chgData name="Siddhartha Paul" userId="0f6d2a28-7c6e-4106-a327-1058fe8b7c05" providerId="ADAL" clId="{C15EC1BA-EE25-4672-92A2-9249CEBF869C}" dt="2024-02-21T08:24:07.290" v="9575" actId="1036"/>
          <ac:cxnSpMkLst>
            <pc:docMk/>
            <pc:sldMk cId="548198184" sldId="2146847204"/>
            <ac:cxnSpMk id="24" creationId="{2654165C-BF17-E197-40A4-C5A14A93C8CB}"/>
          </ac:cxnSpMkLst>
        </pc:cxnChg>
        <pc:cxnChg chg="add mod">
          <ac:chgData name="Siddhartha Paul" userId="0f6d2a28-7c6e-4106-a327-1058fe8b7c05" providerId="ADAL" clId="{C15EC1BA-EE25-4672-92A2-9249CEBF869C}" dt="2024-02-21T08:24:07.290" v="9575" actId="1036"/>
          <ac:cxnSpMkLst>
            <pc:docMk/>
            <pc:sldMk cId="548198184" sldId="2146847204"/>
            <ac:cxnSpMk id="26" creationId="{70E125C3-13A1-B577-8DA4-B3956E724B6E}"/>
          </ac:cxnSpMkLst>
        </pc:cxnChg>
        <pc:cxnChg chg="add mod">
          <ac:chgData name="Siddhartha Paul" userId="0f6d2a28-7c6e-4106-a327-1058fe8b7c05" providerId="ADAL" clId="{C15EC1BA-EE25-4672-92A2-9249CEBF869C}" dt="2024-02-21T08:24:07.290" v="9575" actId="1036"/>
          <ac:cxnSpMkLst>
            <pc:docMk/>
            <pc:sldMk cId="548198184" sldId="2146847204"/>
            <ac:cxnSpMk id="28" creationId="{D27C8A77-5E9B-7408-64D9-B70691E5E9A1}"/>
          </ac:cxnSpMkLst>
        </pc:cxnChg>
        <pc:cxnChg chg="add del">
          <ac:chgData name="Siddhartha Paul" userId="0f6d2a28-7c6e-4106-a327-1058fe8b7c05" providerId="ADAL" clId="{C15EC1BA-EE25-4672-92A2-9249CEBF869C}" dt="2024-02-16T10:08:52.159" v="91" actId="478"/>
          <ac:cxnSpMkLst>
            <pc:docMk/>
            <pc:sldMk cId="548198184" sldId="2146847204"/>
            <ac:cxnSpMk id="30" creationId="{DC237975-62A9-2CD5-412C-B5A4E0285677}"/>
          </ac:cxnSpMkLst>
        </pc:cxnChg>
        <pc:cxnChg chg="add mod">
          <ac:chgData name="Siddhartha Paul" userId="0f6d2a28-7c6e-4106-a327-1058fe8b7c05" providerId="ADAL" clId="{C15EC1BA-EE25-4672-92A2-9249CEBF869C}" dt="2024-02-21T08:24:39.472" v="9580" actId="14100"/>
          <ac:cxnSpMkLst>
            <pc:docMk/>
            <pc:sldMk cId="548198184" sldId="2146847204"/>
            <ac:cxnSpMk id="32" creationId="{68AE6478-B819-4433-0893-632A91BE62FF}"/>
          </ac:cxnSpMkLst>
        </pc:cxnChg>
        <pc:cxnChg chg="add del mod">
          <ac:chgData name="Siddhartha Paul" userId="0f6d2a28-7c6e-4106-a327-1058fe8b7c05" providerId="ADAL" clId="{C15EC1BA-EE25-4672-92A2-9249CEBF869C}" dt="2024-02-16T10:09:49.123" v="104" actId="478"/>
          <ac:cxnSpMkLst>
            <pc:docMk/>
            <pc:sldMk cId="548198184" sldId="2146847204"/>
            <ac:cxnSpMk id="34" creationId="{26A55F02-6C7C-41CE-5EDF-70F7D4D3C1A4}"/>
          </ac:cxnSpMkLst>
        </pc:cxnChg>
        <pc:cxnChg chg="add mod">
          <ac:chgData name="Siddhartha Paul" userId="0f6d2a28-7c6e-4106-a327-1058fe8b7c05" providerId="ADAL" clId="{C15EC1BA-EE25-4672-92A2-9249CEBF869C}" dt="2024-02-21T08:24:23.361" v="9577" actId="14100"/>
          <ac:cxnSpMkLst>
            <pc:docMk/>
            <pc:sldMk cId="548198184" sldId="2146847204"/>
            <ac:cxnSpMk id="36" creationId="{52627375-E097-9D5A-AC75-1CA9918571D1}"/>
          </ac:cxnSpMkLst>
        </pc:cxnChg>
        <pc:cxnChg chg="add del mod">
          <ac:chgData name="Siddhartha Paul" userId="0f6d2a28-7c6e-4106-a327-1058fe8b7c05" providerId="ADAL" clId="{C15EC1BA-EE25-4672-92A2-9249CEBF869C}" dt="2024-02-16T10:09:45.136" v="102" actId="478"/>
          <ac:cxnSpMkLst>
            <pc:docMk/>
            <pc:sldMk cId="548198184" sldId="2146847204"/>
            <ac:cxnSpMk id="37" creationId="{72115127-5B78-A7A4-6E6F-1E147D1AF7CD}"/>
          </ac:cxnSpMkLst>
        </pc:cxnChg>
        <pc:cxnChg chg="add mod">
          <ac:chgData name="Siddhartha Paul" userId="0f6d2a28-7c6e-4106-a327-1058fe8b7c05" providerId="ADAL" clId="{C15EC1BA-EE25-4672-92A2-9249CEBF869C}" dt="2024-02-21T08:24:44.013" v="9581" actId="14100"/>
          <ac:cxnSpMkLst>
            <pc:docMk/>
            <pc:sldMk cId="548198184" sldId="2146847204"/>
            <ac:cxnSpMk id="39" creationId="{41D25E1C-E5A8-9DF3-135E-066B3BDBC75A}"/>
          </ac:cxnSpMkLst>
        </pc:cxnChg>
        <pc:cxnChg chg="add mod">
          <ac:chgData name="Siddhartha Paul" userId="0f6d2a28-7c6e-4106-a327-1058fe8b7c05" providerId="ADAL" clId="{C15EC1BA-EE25-4672-92A2-9249CEBF869C}" dt="2024-02-21T08:24:07.290" v="9575" actId="1036"/>
          <ac:cxnSpMkLst>
            <pc:docMk/>
            <pc:sldMk cId="548198184" sldId="2146847204"/>
            <ac:cxnSpMk id="44" creationId="{79B9F77B-F56C-B6B8-03D3-187A50D546A3}"/>
          </ac:cxnSpMkLst>
        </pc:cxnChg>
        <pc:cxnChg chg="add mod">
          <ac:chgData name="Siddhartha Paul" userId="0f6d2a28-7c6e-4106-a327-1058fe8b7c05" providerId="ADAL" clId="{C15EC1BA-EE25-4672-92A2-9249CEBF869C}" dt="2024-02-21T08:24:07.290" v="9575" actId="1036"/>
          <ac:cxnSpMkLst>
            <pc:docMk/>
            <pc:sldMk cId="548198184" sldId="2146847204"/>
            <ac:cxnSpMk id="60" creationId="{E5B8FA78-9CB4-52B5-B72B-E7C74DBB5133}"/>
          </ac:cxnSpMkLst>
        </pc:cxnChg>
      </pc:sldChg>
      <pc:sldChg chg="addSp delSp modSp add del mod ord">
        <pc:chgData name="Siddhartha Paul" userId="0f6d2a28-7c6e-4106-a327-1058fe8b7c05" providerId="ADAL" clId="{C15EC1BA-EE25-4672-92A2-9249CEBF869C}" dt="2024-02-21T08:14:47.781" v="9402" actId="47"/>
        <pc:sldMkLst>
          <pc:docMk/>
          <pc:sldMk cId="3762389213" sldId="2146847205"/>
        </pc:sldMkLst>
        <pc:spChg chg="add del mod">
          <ac:chgData name="Siddhartha Paul" userId="0f6d2a28-7c6e-4106-a327-1058fe8b7c05" providerId="ADAL" clId="{C15EC1BA-EE25-4672-92A2-9249CEBF869C}" dt="2024-02-20T17:47:41.380" v="391" actId="478"/>
          <ac:spMkLst>
            <pc:docMk/>
            <pc:sldMk cId="3762389213" sldId="2146847205"/>
            <ac:spMk id="3" creationId="{D19B73F0-3220-B8A9-A771-A7AAAC2B698F}"/>
          </ac:spMkLst>
        </pc:spChg>
        <pc:spChg chg="add mod">
          <ac:chgData name="Siddhartha Paul" userId="0f6d2a28-7c6e-4106-a327-1058fe8b7c05" providerId="ADAL" clId="{C15EC1BA-EE25-4672-92A2-9249CEBF869C}" dt="2024-02-20T18:03:06.784" v="392"/>
          <ac:spMkLst>
            <pc:docMk/>
            <pc:sldMk cId="3762389213" sldId="2146847205"/>
            <ac:spMk id="4" creationId="{29146788-5EAB-A0F7-90B8-4992DAE55BC4}"/>
          </ac:spMkLst>
        </pc:spChg>
        <pc:spChg chg="add mod">
          <ac:chgData name="Siddhartha Paul" userId="0f6d2a28-7c6e-4106-a327-1058fe8b7c05" providerId="ADAL" clId="{C15EC1BA-EE25-4672-92A2-9249CEBF869C}" dt="2024-02-20T18:03:06.784" v="392"/>
          <ac:spMkLst>
            <pc:docMk/>
            <pc:sldMk cId="3762389213" sldId="2146847205"/>
            <ac:spMk id="5" creationId="{156038D2-EFCF-9DE9-5780-99D0819A443E}"/>
          </ac:spMkLst>
        </pc:spChg>
        <pc:spChg chg="add mod">
          <ac:chgData name="Siddhartha Paul" userId="0f6d2a28-7c6e-4106-a327-1058fe8b7c05" providerId="ADAL" clId="{C15EC1BA-EE25-4672-92A2-9249CEBF869C}" dt="2024-02-20T18:03:06.784" v="392"/>
          <ac:spMkLst>
            <pc:docMk/>
            <pc:sldMk cId="3762389213" sldId="2146847205"/>
            <ac:spMk id="6" creationId="{B0A5CA57-D571-7DFF-3380-5AAD2025BEE3}"/>
          </ac:spMkLst>
        </pc:spChg>
        <pc:spChg chg="mod">
          <ac:chgData name="Siddhartha Paul" userId="0f6d2a28-7c6e-4106-a327-1058fe8b7c05" providerId="ADAL" clId="{C15EC1BA-EE25-4672-92A2-9249CEBF869C}" dt="2024-02-20T17:47:31.805" v="390"/>
          <ac:spMkLst>
            <pc:docMk/>
            <pc:sldMk cId="3762389213" sldId="2146847205"/>
            <ac:spMk id="7" creationId="{238D0DE0-522F-29B0-8202-964439F707B1}"/>
          </ac:spMkLst>
        </pc:spChg>
        <pc:spChg chg="add mod">
          <ac:chgData name="Siddhartha Paul" userId="0f6d2a28-7c6e-4106-a327-1058fe8b7c05" providerId="ADAL" clId="{C15EC1BA-EE25-4672-92A2-9249CEBF869C}" dt="2024-02-20T18:03:06.784" v="392"/>
          <ac:spMkLst>
            <pc:docMk/>
            <pc:sldMk cId="3762389213" sldId="2146847205"/>
            <ac:spMk id="8" creationId="{1EFAA0D7-C314-624E-FC38-E26097652C70}"/>
          </ac:spMkLst>
        </pc:spChg>
        <pc:spChg chg="add mod">
          <ac:chgData name="Siddhartha Paul" userId="0f6d2a28-7c6e-4106-a327-1058fe8b7c05" providerId="ADAL" clId="{C15EC1BA-EE25-4672-92A2-9249CEBF869C}" dt="2024-02-20T18:03:06.784" v="392"/>
          <ac:spMkLst>
            <pc:docMk/>
            <pc:sldMk cId="3762389213" sldId="2146847205"/>
            <ac:spMk id="10" creationId="{22EB0208-C478-9647-8675-07CE3591BB12}"/>
          </ac:spMkLst>
        </pc:spChg>
        <pc:spChg chg="add mod">
          <ac:chgData name="Siddhartha Paul" userId="0f6d2a28-7c6e-4106-a327-1058fe8b7c05" providerId="ADAL" clId="{C15EC1BA-EE25-4672-92A2-9249CEBF869C}" dt="2024-02-20T18:03:06.784" v="392"/>
          <ac:spMkLst>
            <pc:docMk/>
            <pc:sldMk cId="3762389213" sldId="2146847205"/>
            <ac:spMk id="11" creationId="{FA01973A-F117-4BA4-4410-D20A6E99F0CE}"/>
          </ac:spMkLst>
        </pc:spChg>
        <pc:spChg chg="add mod">
          <ac:chgData name="Siddhartha Paul" userId="0f6d2a28-7c6e-4106-a327-1058fe8b7c05" providerId="ADAL" clId="{C15EC1BA-EE25-4672-92A2-9249CEBF869C}" dt="2024-02-20T18:03:06.784" v="392"/>
          <ac:spMkLst>
            <pc:docMk/>
            <pc:sldMk cId="3762389213" sldId="2146847205"/>
            <ac:spMk id="13" creationId="{6781ACCC-977C-DCC5-7DB2-926E95495282}"/>
          </ac:spMkLst>
        </pc:spChg>
        <pc:spChg chg="add mod">
          <ac:chgData name="Siddhartha Paul" userId="0f6d2a28-7c6e-4106-a327-1058fe8b7c05" providerId="ADAL" clId="{C15EC1BA-EE25-4672-92A2-9249CEBF869C}" dt="2024-02-20T18:03:06.784" v="392"/>
          <ac:spMkLst>
            <pc:docMk/>
            <pc:sldMk cId="3762389213" sldId="2146847205"/>
            <ac:spMk id="14" creationId="{CB5681B3-C98F-759D-3DAF-5AADDD6F0183}"/>
          </ac:spMkLst>
        </pc:spChg>
        <pc:spChg chg="add mod">
          <ac:chgData name="Siddhartha Paul" userId="0f6d2a28-7c6e-4106-a327-1058fe8b7c05" providerId="ADAL" clId="{C15EC1BA-EE25-4672-92A2-9249CEBF869C}" dt="2024-02-20T18:03:06.784" v="392"/>
          <ac:spMkLst>
            <pc:docMk/>
            <pc:sldMk cId="3762389213" sldId="2146847205"/>
            <ac:spMk id="17" creationId="{AD9C2E8F-C264-F4E3-7FAE-061462F1A5AA}"/>
          </ac:spMkLst>
        </pc:spChg>
        <pc:spChg chg="add mod">
          <ac:chgData name="Siddhartha Paul" userId="0f6d2a28-7c6e-4106-a327-1058fe8b7c05" providerId="ADAL" clId="{C15EC1BA-EE25-4672-92A2-9249CEBF869C}" dt="2024-02-20T18:03:06.784" v="392"/>
          <ac:spMkLst>
            <pc:docMk/>
            <pc:sldMk cId="3762389213" sldId="2146847205"/>
            <ac:spMk id="18" creationId="{DAB0417D-4264-09F5-868B-4295B17DD2C2}"/>
          </ac:spMkLst>
        </pc:spChg>
        <pc:spChg chg="add mod">
          <ac:chgData name="Siddhartha Paul" userId="0f6d2a28-7c6e-4106-a327-1058fe8b7c05" providerId="ADAL" clId="{C15EC1BA-EE25-4672-92A2-9249CEBF869C}" dt="2024-02-20T18:03:06.784" v="392"/>
          <ac:spMkLst>
            <pc:docMk/>
            <pc:sldMk cId="3762389213" sldId="2146847205"/>
            <ac:spMk id="19" creationId="{88DE7872-9DA7-AEE3-1FAD-BC65C3868F5B}"/>
          </ac:spMkLst>
        </pc:spChg>
        <pc:spChg chg="add mod">
          <ac:chgData name="Siddhartha Paul" userId="0f6d2a28-7c6e-4106-a327-1058fe8b7c05" providerId="ADAL" clId="{C15EC1BA-EE25-4672-92A2-9249CEBF869C}" dt="2024-02-20T18:03:06.784" v="392"/>
          <ac:spMkLst>
            <pc:docMk/>
            <pc:sldMk cId="3762389213" sldId="2146847205"/>
            <ac:spMk id="20" creationId="{89DFAC48-0822-FBAB-4C55-46646F6D66CD}"/>
          </ac:spMkLst>
        </pc:spChg>
        <pc:spChg chg="del">
          <ac:chgData name="Siddhartha Paul" userId="0f6d2a28-7c6e-4106-a327-1058fe8b7c05" providerId="ADAL" clId="{C15EC1BA-EE25-4672-92A2-9249CEBF869C}" dt="2024-02-19T10:25:31.870" v="337" actId="478"/>
          <ac:spMkLst>
            <pc:docMk/>
            <pc:sldMk cId="3762389213" sldId="2146847205"/>
            <ac:spMk id="41" creationId="{5FD776E9-0E28-15D0-F8A5-058FD8FA8BE2}"/>
          </ac:spMkLst>
        </pc:spChg>
        <pc:spChg chg="del">
          <ac:chgData name="Siddhartha Paul" userId="0f6d2a28-7c6e-4106-a327-1058fe8b7c05" providerId="ADAL" clId="{C15EC1BA-EE25-4672-92A2-9249CEBF869C}" dt="2024-02-19T10:25:31.870" v="337" actId="478"/>
          <ac:spMkLst>
            <pc:docMk/>
            <pc:sldMk cId="3762389213" sldId="2146847205"/>
            <ac:spMk id="42" creationId="{E5FC833A-7C5C-93EF-EDA1-4F32559D12CC}"/>
          </ac:spMkLst>
        </pc:spChg>
        <pc:spChg chg="del">
          <ac:chgData name="Siddhartha Paul" userId="0f6d2a28-7c6e-4106-a327-1058fe8b7c05" providerId="ADAL" clId="{C15EC1BA-EE25-4672-92A2-9249CEBF869C}" dt="2024-02-19T10:25:31.870" v="337" actId="478"/>
          <ac:spMkLst>
            <pc:docMk/>
            <pc:sldMk cId="3762389213" sldId="2146847205"/>
            <ac:spMk id="45" creationId="{A7749071-9BFE-A330-B83F-884EF07EFE8F}"/>
          </ac:spMkLst>
        </pc:spChg>
        <pc:spChg chg="del">
          <ac:chgData name="Siddhartha Paul" userId="0f6d2a28-7c6e-4106-a327-1058fe8b7c05" providerId="ADAL" clId="{C15EC1BA-EE25-4672-92A2-9249CEBF869C}" dt="2024-02-19T10:25:31.870" v="337" actId="478"/>
          <ac:spMkLst>
            <pc:docMk/>
            <pc:sldMk cId="3762389213" sldId="2146847205"/>
            <ac:spMk id="46" creationId="{D1842B2F-C570-33FB-7D8B-5A8DA05229E7}"/>
          </ac:spMkLst>
        </pc:spChg>
        <pc:spChg chg="del">
          <ac:chgData name="Siddhartha Paul" userId="0f6d2a28-7c6e-4106-a327-1058fe8b7c05" providerId="ADAL" clId="{C15EC1BA-EE25-4672-92A2-9249CEBF869C}" dt="2024-02-19T10:25:31.870" v="337" actId="478"/>
          <ac:spMkLst>
            <pc:docMk/>
            <pc:sldMk cId="3762389213" sldId="2146847205"/>
            <ac:spMk id="47" creationId="{05DA9612-69A3-7F19-DAE0-C09CDD7A1422}"/>
          </ac:spMkLst>
        </pc:spChg>
        <pc:spChg chg="del">
          <ac:chgData name="Siddhartha Paul" userId="0f6d2a28-7c6e-4106-a327-1058fe8b7c05" providerId="ADAL" clId="{C15EC1BA-EE25-4672-92A2-9249CEBF869C}" dt="2024-02-19T10:25:31.870" v="337" actId="478"/>
          <ac:spMkLst>
            <pc:docMk/>
            <pc:sldMk cId="3762389213" sldId="2146847205"/>
            <ac:spMk id="48" creationId="{791A7A6D-D1E4-60EF-EB31-F4420B0ECFC7}"/>
          </ac:spMkLst>
        </pc:spChg>
        <pc:spChg chg="del">
          <ac:chgData name="Siddhartha Paul" userId="0f6d2a28-7c6e-4106-a327-1058fe8b7c05" providerId="ADAL" clId="{C15EC1BA-EE25-4672-92A2-9249CEBF869C}" dt="2024-02-19T10:25:31.870" v="337" actId="478"/>
          <ac:spMkLst>
            <pc:docMk/>
            <pc:sldMk cId="3762389213" sldId="2146847205"/>
            <ac:spMk id="50" creationId="{7906368B-6363-A618-B1AE-90CB2BE7FA3E}"/>
          </ac:spMkLst>
        </pc:spChg>
        <pc:spChg chg="del">
          <ac:chgData name="Siddhartha Paul" userId="0f6d2a28-7c6e-4106-a327-1058fe8b7c05" providerId="ADAL" clId="{C15EC1BA-EE25-4672-92A2-9249CEBF869C}" dt="2024-02-19T10:25:31.870" v="337" actId="478"/>
          <ac:spMkLst>
            <pc:docMk/>
            <pc:sldMk cId="3762389213" sldId="2146847205"/>
            <ac:spMk id="51" creationId="{48C529CD-1FC7-647B-C4B8-513600A7C5B6}"/>
          </ac:spMkLst>
        </pc:spChg>
        <pc:spChg chg="del">
          <ac:chgData name="Siddhartha Paul" userId="0f6d2a28-7c6e-4106-a327-1058fe8b7c05" providerId="ADAL" clId="{C15EC1BA-EE25-4672-92A2-9249CEBF869C}" dt="2024-02-19T10:25:31.870" v="337" actId="478"/>
          <ac:spMkLst>
            <pc:docMk/>
            <pc:sldMk cId="3762389213" sldId="2146847205"/>
            <ac:spMk id="61" creationId="{43E108D8-12F1-085C-C0F6-E60A2E20803D}"/>
          </ac:spMkLst>
        </pc:spChg>
        <pc:picChg chg="add del mod">
          <ac:chgData name="Siddhartha Paul" userId="0f6d2a28-7c6e-4106-a327-1058fe8b7c05" providerId="ADAL" clId="{C15EC1BA-EE25-4672-92A2-9249CEBF869C}" dt="2024-02-20T17:47:41.380" v="391" actId="478"/>
          <ac:picMkLst>
            <pc:docMk/>
            <pc:sldMk cId="3762389213" sldId="2146847205"/>
            <ac:picMk id="2" creationId="{3BC0FFE1-96B4-D71F-113A-0DD9FFCFDA2C}"/>
          </ac:picMkLst>
        </pc:picChg>
        <pc:picChg chg="add del mod">
          <ac:chgData name="Siddhartha Paul" userId="0f6d2a28-7c6e-4106-a327-1058fe8b7c05" providerId="ADAL" clId="{C15EC1BA-EE25-4672-92A2-9249CEBF869C}" dt="2024-02-20T18:03:34.383" v="395" actId="478"/>
          <ac:picMkLst>
            <pc:docMk/>
            <pc:sldMk cId="3762389213" sldId="2146847205"/>
            <ac:picMk id="9" creationId="{12D2836F-5DF6-8888-D8AE-2A0D1966A396}"/>
          </ac:picMkLst>
        </pc:picChg>
        <pc:picChg chg="add del mod">
          <ac:chgData name="Siddhartha Paul" userId="0f6d2a28-7c6e-4106-a327-1058fe8b7c05" providerId="ADAL" clId="{C15EC1BA-EE25-4672-92A2-9249CEBF869C}" dt="2024-02-20T18:07:39.569" v="402" actId="478"/>
          <ac:picMkLst>
            <pc:docMk/>
            <pc:sldMk cId="3762389213" sldId="2146847205"/>
            <ac:picMk id="12" creationId="{5E6B974F-2CC5-D60D-327D-DA9AE925C271}"/>
          </ac:picMkLst>
        </pc:picChg>
        <pc:picChg chg="add mod">
          <ac:chgData name="Siddhartha Paul" userId="0f6d2a28-7c6e-4106-a327-1058fe8b7c05" providerId="ADAL" clId="{C15EC1BA-EE25-4672-92A2-9249CEBF869C}" dt="2024-02-20T18:03:06.784" v="392"/>
          <ac:picMkLst>
            <pc:docMk/>
            <pc:sldMk cId="3762389213" sldId="2146847205"/>
            <ac:picMk id="15" creationId="{8BD5B913-2304-736F-72A9-F81BEB69D83A}"/>
          </ac:picMkLst>
        </pc:picChg>
        <pc:picChg chg="add mod">
          <ac:chgData name="Siddhartha Paul" userId="0f6d2a28-7c6e-4106-a327-1058fe8b7c05" providerId="ADAL" clId="{C15EC1BA-EE25-4672-92A2-9249CEBF869C}" dt="2024-02-20T18:03:06.784" v="392"/>
          <ac:picMkLst>
            <pc:docMk/>
            <pc:sldMk cId="3762389213" sldId="2146847205"/>
            <ac:picMk id="16" creationId="{B256BAEE-7590-398D-3EF9-965DA67545D4}"/>
          </ac:picMkLst>
        </pc:picChg>
        <pc:picChg chg="add mod">
          <ac:chgData name="Siddhartha Paul" userId="0f6d2a28-7c6e-4106-a327-1058fe8b7c05" providerId="ADAL" clId="{C15EC1BA-EE25-4672-92A2-9249CEBF869C}" dt="2024-02-20T18:07:12.268" v="398" actId="1076"/>
          <ac:picMkLst>
            <pc:docMk/>
            <pc:sldMk cId="3762389213" sldId="2146847205"/>
            <ac:picMk id="1026" creationId="{A42AFFB8-1CCF-DC27-7144-0D02F931F7EE}"/>
          </ac:picMkLst>
        </pc:picChg>
        <pc:picChg chg="add mod">
          <ac:chgData name="Siddhartha Paul" userId="0f6d2a28-7c6e-4106-a327-1058fe8b7c05" providerId="ADAL" clId="{C15EC1BA-EE25-4672-92A2-9249CEBF869C}" dt="2024-02-20T18:07:38.047" v="401" actId="1076"/>
          <ac:picMkLst>
            <pc:docMk/>
            <pc:sldMk cId="3762389213" sldId="2146847205"/>
            <ac:picMk id="1028" creationId="{DB6E6637-669D-077B-E441-459CB5D852E2}"/>
          </ac:picMkLst>
        </pc:picChg>
        <pc:picChg chg="add mod">
          <ac:chgData name="Siddhartha Paul" userId="0f6d2a28-7c6e-4106-a327-1058fe8b7c05" providerId="ADAL" clId="{C15EC1BA-EE25-4672-92A2-9249CEBF869C}" dt="2024-02-20T18:08:12.927" v="407" actId="1076"/>
          <ac:picMkLst>
            <pc:docMk/>
            <pc:sldMk cId="3762389213" sldId="2146847205"/>
            <ac:picMk id="1030" creationId="{864E6165-B633-987F-B993-8865F754F630}"/>
          </ac:picMkLst>
        </pc:picChg>
        <pc:picChg chg="add mod">
          <ac:chgData name="Siddhartha Paul" userId="0f6d2a28-7c6e-4106-a327-1058fe8b7c05" providerId="ADAL" clId="{C15EC1BA-EE25-4672-92A2-9249CEBF869C}" dt="2024-02-20T18:08:12.927" v="407" actId="1076"/>
          <ac:picMkLst>
            <pc:docMk/>
            <pc:sldMk cId="3762389213" sldId="2146847205"/>
            <ac:picMk id="1032" creationId="{9052E148-FB31-8DA9-4F6E-6728DC70E078}"/>
          </ac:picMkLst>
        </pc:picChg>
        <pc:picChg chg="add mod">
          <ac:chgData name="Siddhartha Paul" userId="0f6d2a28-7c6e-4106-a327-1058fe8b7c05" providerId="ADAL" clId="{C15EC1BA-EE25-4672-92A2-9249CEBF869C}" dt="2024-02-20T18:08:52.011" v="410" actId="1076"/>
          <ac:picMkLst>
            <pc:docMk/>
            <pc:sldMk cId="3762389213" sldId="2146847205"/>
            <ac:picMk id="1034" creationId="{A3C9DC8C-9359-23C6-0CBA-E18285BC37EC}"/>
          </ac:picMkLst>
        </pc:picChg>
        <pc:cxnChg chg="del">
          <ac:chgData name="Siddhartha Paul" userId="0f6d2a28-7c6e-4106-a327-1058fe8b7c05" providerId="ADAL" clId="{C15EC1BA-EE25-4672-92A2-9249CEBF869C}" dt="2024-02-19T10:25:31.870" v="337" actId="478"/>
          <ac:cxnSpMkLst>
            <pc:docMk/>
            <pc:sldMk cId="3762389213" sldId="2146847205"/>
            <ac:cxnSpMk id="24" creationId="{2654165C-BF17-E197-40A4-C5A14A93C8CB}"/>
          </ac:cxnSpMkLst>
        </pc:cxnChg>
        <pc:cxnChg chg="del">
          <ac:chgData name="Siddhartha Paul" userId="0f6d2a28-7c6e-4106-a327-1058fe8b7c05" providerId="ADAL" clId="{C15EC1BA-EE25-4672-92A2-9249CEBF869C}" dt="2024-02-19T10:25:31.870" v="337" actId="478"/>
          <ac:cxnSpMkLst>
            <pc:docMk/>
            <pc:sldMk cId="3762389213" sldId="2146847205"/>
            <ac:cxnSpMk id="26" creationId="{70E125C3-13A1-B577-8DA4-B3956E724B6E}"/>
          </ac:cxnSpMkLst>
        </pc:cxnChg>
        <pc:cxnChg chg="del">
          <ac:chgData name="Siddhartha Paul" userId="0f6d2a28-7c6e-4106-a327-1058fe8b7c05" providerId="ADAL" clId="{C15EC1BA-EE25-4672-92A2-9249CEBF869C}" dt="2024-02-19T10:25:31.870" v="337" actId="478"/>
          <ac:cxnSpMkLst>
            <pc:docMk/>
            <pc:sldMk cId="3762389213" sldId="2146847205"/>
            <ac:cxnSpMk id="28" creationId="{D27C8A77-5E9B-7408-64D9-B70691E5E9A1}"/>
          </ac:cxnSpMkLst>
        </pc:cxnChg>
        <pc:cxnChg chg="del">
          <ac:chgData name="Siddhartha Paul" userId="0f6d2a28-7c6e-4106-a327-1058fe8b7c05" providerId="ADAL" clId="{C15EC1BA-EE25-4672-92A2-9249CEBF869C}" dt="2024-02-19T10:25:31.870" v="337" actId="478"/>
          <ac:cxnSpMkLst>
            <pc:docMk/>
            <pc:sldMk cId="3762389213" sldId="2146847205"/>
            <ac:cxnSpMk id="32" creationId="{68AE6478-B819-4433-0893-632A91BE62FF}"/>
          </ac:cxnSpMkLst>
        </pc:cxnChg>
        <pc:cxnChg chg="del">
          <ac:chgData name="Siddhartha Paul" userId="0f6d2a28-7c6e-4106-a327-1058fe8b7c05" providerId="ADAL" clId="{C15EC1BA-EE25-4672-92A2-9249CEBF869C}" dt="2024-02-19T10:25:31.870" v="337" actId="478"/>
          <ac:cxnSpMkLst>
            <pc:docMk/>
            <pc:sldMk cId="3762389213" sldId="2146847205"/>
            <ac:cxnSpMk id="36" creationId="{52627375-E097-9D5A-AC75-1CA9918571D1}"/>
          </ac:cxnSpMkLst>
        </pc:cxnChg>
        <pc:cxnChg chg="del">
          <ac:chgData name="Siddhartha Paul" userId="0f6d2a28-7c6e-4106-a327-1058fe8b7c05" providerId="ADAL" clId="{C15EC1BA-EE25-4672-92A2-9249CEBF869C}" dt="2024-02-19T10:25:31.870" v="337" actId="478"/>
          <ac:cxnSpMkLst>
            <pc:docMk/>
            <pc:sldMk cId="3762389213" sldId="2146847205"/>
            <ac:cxnSpMk id="39" creationId="{41D25E1C-E5A8-9DF3-135E-066B3BDBC75A}"/>
          </ac:cxnSpMkLst>
        </pc:cxnChg>
        <pc:cxnChg chg="del">
          <ac:chgData name="Siddhartha Paul" userId="0f6d2a28-7c6e-4106-a327-1058fe8b7c05" providerId="ADAL" clId="{C15EC1BA-EE25-4672-92A2-9249CEBF869C}" dt="2024-02-19T10:25:31.870" v="337" actId="478"/>
          <ac:cxnSpMkLst>
            <pc:docMk/>
            <pc:sldMk cId="3762389213" sldId="2146847205"/>
            <ac:cxnSpMk id="44" creationId="{79B9F77B-F56C-B6B8-03D3-187A50D546A3}"/>
          </ac:cxnSpMkLst>
        </pc:cxnChg>
        <pc:cxnChg chg="del">
          <ac:chgData name="Siddhartha Paul" userId="0f6d2a28-7c6e-4106-a327-1058fe8b7c05" providerId="ADAL" clId="{C15EC1BA-EE25-4672-92A2-9249CEBF869C}" dt="2024-02-19T10:25:31.870" v="337" actId="478"/>
          <ac:cxnSpMkLst>
            <pc:docMk/>
            <pc:sldMk cId="3762389213" sldId="2146847205"/>
            <ac:cxnSpMk id="60" creationId="{E5B8FA78-9CB4-52B5-B72B-E7C74DBB5133}"/>
          </ac:cxnSpMkLst>
        </pc:cxnChg>
      </pc:sldChg>
      <pc:sldChg chg="addSp delSp modSp add del mod">
        <pc:chgData name="Siddhartha Paul" userId="0f6d2a28-7c6e-4106-a327-1058fe8b7c05" providerId="ADAL" clId="{C15EC1BA-EE25-4672-92A2-9249CEBF869C}" dt="2024-02-20T18:56:56.834" v="2173" actId="47"/>
        <pc:sldMkLst>
          <pc:docMk/>
          <pc:sldMk cId="1229995330" sldId="2146847206"/>
        </pc:sldMkLst>
        <pc:spChg chg="add del mod">
          <ac:chgData name="Siddhartha Paul" userId="0f6d2a28-7c6e-4106-a327-1058fe8b7c05" providerId="ADAL" clId="{C15EC1BA-EE25-4672-92A2-9249CEBF869C}" dt="2024-02-20T18:25:53.551" v="1064" actId="478"/>
          <ac:spMkLst>
            <pc:docMk/>
            <pc:sldMk cId="1229995330" sldId="2146847206"/>
            <ac:spMk id="3" creationId="{9EDF8E35-A6AC-59F7-7085-DAB831E3EAA3}"/>
          </ac:spMkLst>
        </pc:spChg>
        <pc:spChg chg="del">
          <ac:chgData name="Siddhartha Paul" userId="0f6d2a28-7c6e-4106-a327-1058fe8b7c05" providerId="ADAL" clId="{C15EC1BA-EE25-4672-92A2-9249CEBF869C}" dt="2024-02-20T18:10:37.507" v="412" actId="478"/>
          <ac:spMkLst>
            <pc:docMk/>
            <pc:sldMk cId="1229995330" sldId="2146847206"/>
            <ac:spMk id="4" creationId="{29146788-5EAB-A0F7-90B8-4992DAE55BC4}"/>
          </ac:spMkLst>
        </pc:spChg>
        <pc:spChg chg="del">
          <ac:chgData name="Siddhartha Paul" userId="0f6d2a28-7c6e-4106-a327-1058fe8b7c05" providerId="ADAL" clId="{C15EC1BA-EE25-4672-92A2-9249CEBF869C}" dt="2024-02-20T18:10:37.507" v="412" actId="478"/>
          <ac:spMkLst>
            <pc:docMk/>
            <pc:sldMk cId="1229995330" sldId="2146847206"/>
            <ac:spMk id="5" creationId="{156038D2-EFCF-9DE9-5780-99D0819A443E}"/>
          </ac:spMkLst>
        </pc:spChg>
        <pc:spChg chg="del">
          <ac:chgData name="Siddhartha Paul" userId="0f6d2a28-7c6e-4106-a327-1058fe8b7c05" providerId="ADAL" clId="{C15EC1BA-EE25-4672-92A2-9249CEBF869C}" dt="2024-02-20T18:10:37.507" v="412" actId="478"/>
          <ac:spMkLst>
            <pc:docMk/>
            <pc:sldMk cId="1229995330" sldId="2146847206"/>
            <ac:spMk id="6" creationId="{B0A5CA57-D571-7DFF-3380-5AAD2025BEE3}"/>
          </ac:spMkLst>
        </pc:spChg>
        <pc:spChg chg="del">
          <ac:chgData name="Siddhartha Paul" userId="0f6d2a28-7c6e-4106-a327-1058fe8b7c05" providerId="ADAL" clId="{C15EC1BA-EE25-4672-92A2-9249CEBF869C}" dt="2024-02-20T18:10:37.507" v="412" actId="478"/>
          <ac:spMkLst>
            <pc:docMk/>
            <pc:sldMk cId="1229995330" sldId="2146847206"/>
            <ac:spMk id="8" creationId="{1EFAA0D7-C314-624E-FC38-E26097652C70}"/>
          </ac:spMkLst>
        </pc:spChg>
        <pc:spChg chg="del">
          <ac:chgData name="Siddhartha Paul" userId="0f6d2a28-7c6e-4106-a327-1058fe8b7c05" providerId="ADAL" clId="{C15EC1BA-EE25-4672-92A2-9249CEBF869C}" dt="2024-02-20T18:10:37.507" v="412" actId="478"/>
          <ac:spMkLst>
            <pc:docMk/>
            <pc:sldMk cId="1229995330" sldId="2146847206"/>
            <ac:spMk id="10" creationId="{22EB0208-C478-9647-8675-07CE3591BB12}"/>
          </ac:spMkLst>
        </pc:spChg>
        <pc:spChg chg="del">
          <ac:chgData name="Siddhartha Paul" userId="0f6d2a28-7c6e-4106-a327-1058fe8b7c05" providerId="ADAL" clId="{C15EC1BA-EE25-4672-92A2-9249CEBF869C}" dt="2024-02-20T18:10:37.507" v="412" actId="478"/>
          <ac:spMkLst>
            <pc:docMk/>
            <pc:sldMk cId="1229995330" sldId="2146847206"/>
            <ac:spMk id="11" creationId="{FA01973A-F117-4BA4-4410-D20A6E99F0CE}"/>
          </ac:spMkLst>
        </pc:spChg>
        <pc:spChg chg="add mod">
          <ac:chgData name="Siddhartha Paul" userId="0f6d2a28-7c6e-4106-a327-1058fe8b7c05" providerId="ADAL" clId="{C15EC1BA-EE25-4672-92A2-9249CEBF869C}" dt="2024-02-20T18:27:59.593" v="1216" actId="14100"/>
          <ac:spMkLst>
            <pc:docMk/>
            <pc:sldMk cId="1229995330" sldId="2146847206"/>
            <ac:spMk id="12" creationId="{E78DB2A1-090A-739C-CE10-5A4BBA30B00A}"/>
          </ac:spMkLst>
        </pc:spChg>
        <pc:spChg chg="del">
          <ac:chgData name="Siddhartha Paul" userId="0f6d2a28-7c6e-4106-a327-1058fe8b7c05" providerId="ADAL" clId="{C15EC1BA-EE25-4672-92A2-9249CEBF869C}" dt="2024-02-20T18:10:37.507" v="412" actId="478"/>
          <ac:spMkLst>
            <pc:docMk/>
            <pc:sldMk cId="1229995330" sldId="2146847206"/>
            <ac:spMk id="13" creationId="{6781ACCC-977C-DCC5-7DB2-926E95495282}"/>
          </ac:spMkLst>
        </pc:spChg>
        <pc:spChg chg="del">
          <ac:chgData name="Siddhartha Paul" userId="0f6d2a28-7c6e-4106-a327-1058fe8b7c05" providerId="ADAL" clId="{C15EC1BA-EE25-4672-92A2-9249CEBF869C}" dt="2024-02-20T18:10:37.507" v="412" actId="478"/>
          <ac:spMkLst>
            <pc:docMk/>
            <pc:sldMk cId="1229995330" sldId="2146847206"/>
            <ac:spMk id="14" creationId="{CB5681B3-C98F-759D-3DAF-5AADDD6F0183}"/>
          </ac:spMkLst>
        </pc:spChg>
        <pc:spChg chg="del">
          <ac:chgData name="Siddhartha Paul" userId="0f6d2a28-7c6e-4106-a327-1058fe8b7c05" providerId="ADAL" clId="{C15EC1BA-EE25-4672-92A2-9249CEBF869C}" dt="2024-02-20T18:10:37.507" v="412" actId="478"/>
          <ac:spMkLst>
            <pc:docMk/>
            <pc:sldMk cId="1229995330" sldId="2146847206"/>
            <ac:spMk id="17" creationId="{AD9C2E8F-C264-F4E3-7FAE-061462F1A5AA}"/>
          </ac:spMkLst>
        </pc:spChg>
        <pc:spChg chg="del">
          <ac:chgData name="Siddhartha Paul" userId="0f6d2a28-7c6e-4106-a327-1058fe8b7c05" providerId="ADAL" clId="{C15EC1BA-EE25-4672-92A2-9249CEBF869C}" dt="2024-02-20T18:10:37.507" v="412" actId="478"/>
          <ac:spMkLst>
            <pc:docMk/>
            <pc:sldMk cId="1229995330" sldId="2146847206"/>
            <ac:spMk id="18" creationId="{DAB0417D-4264-09F5-868B-4295B17DD2C2}"/>
          </ac:spMkLst>
        </pc:spChg>
        <pc:spChg chg="del">
          <ac:chgData name="Siddhartha Paul" userId="0f6d2a28-7c6e-4106-a327-1058fe8b7c05" providerId="ADAL" clId="{C15EC1BA-EE25-4672-92A2-9249CEBF869C}" dt="2024-02-20T18:10:37.507" v="412" actId="478"/>
          <ac:spMkLst>
            <pc:docMk/>
            <pc:sldMk cId="1229995330" sldId="2146847206"/>
            <ac:spMk id="19" creationId="{88DE7872-9DA7-AEE3-1FAD-BC65C3868F5B}"/>
          </ac:spMkLst>
        </pc:spChg>
        <pc:spChg chg="del">
          <ac:chgData name="Siddhartha Paul" userId="0f6d2a28-7c6e-4106-a327-1058fe8b7c05" providerId="ADAL" clId="{C15EC1BA-EE25-4672-92A2-9249CEBF869C}" dt="2024-02-20T18:10:37.507" v="412" actId="478"/>
          <ac:spMkLst>
            <pc:docMk/>
            <pc:sldMk cId="1229995330" sldId="2146847206"/>
            <ac:spMk id="20" creationId="{89DFAC48-0822-FBAB-4C55-46646F6D66CD}"/>
          </ac:spMkLst>
        </pc:spChg>
        <pc:spChg chg="add del mod">
          <ac:chgData name="Siddhartha Paul" userId="0f6d2a28-7c6e-4106-a327-1058fe8b7c05" providerId="ADAL" clId="{C15EC1BA-EE25-4672-92A2-9249CEBF869C}" dt="2024-02-20T18:22:39.401" v="970" actId="478"/>
          <ac:spMkLst>
            <pc:docMk/>
            <pc:sldMk cId="1229995330" sldId="2146847206"/>
            <ac:spMk id="22" creationId="{7C5CB93A-B2FB-4944-F0FD-9D4D92D4CAE1}"/>
          </ac:spMkLst>
        </pc:spChg>
        <pc:spChg chg="add mod">
          <ac:chgData name="Siddhartha Paul" userId="0f6d2a28-7c6e-4106-a327-1058fe8b7c05" providerId="ADAL" clId="{C15EC1BA-EE25-4672-92A2-9249CEBF869C}" dt="2024-02-20T18:27:53.725" v="1214" actId="1076"/>
          <ac:spMkLst>
            <pc:docMk/>
            <pc:sldMk cId="1229995330" sldId="2146847206"/>
            <ac:spMk id="24" creationId="{329F9585-B591-E009-C250-8A8112CF3EC9}"/>
          </ac:spMkLst>
        </pc:spChg>
        <pc:spChg chg="add mod">
          <ac:chgData name="Siddhartha Paul" userId="0f6d2a28-7c6e-4106-a327-1058fe8b7c05" providerId="ADAL" clId="{C15EC1BA-EE25-4672-92A2-9249CEBF869C}" dt="2024-02-20T18:29:01.036" v="1238" actId="1035"/>
          <ac:spMkLst>
            <pc:docMk/>
            <pc:sldMk cId="1229995330" sldId="2146847206"/>
            <ac:spMk id="26" creationId="{40C9E54A-9CF8-9DB4-BFC0-135F8F337287}"/>
          </ac:spMkLst>
        </pc:spChg>
        <pc:spChg chg="add mod">
          <ac:chgData name="Siddhartha Paul" userId="0f6d2a28-7c6e-4106-a327-1058fe8b7c05" providerId="ADAL" clId="{C15EC1BA-EE25-4672-92A2-9249CEBF869C}" dt="2024-02-20T18:28:50.903" v="1231" actId="14100"/>
          <ac:spMkLst>
            <pc:docMk/>
            <pc:sldMk cId="1229995330" sldId="2146847206"/>
            <ac:spMk id="27" creationId="{33B62C5A-82E6-E823-136B-C0B7560E179B}"/>
          </ac:spMkLst>
        </pc:spChg>
        <pc:spChg chg="add mod">
          <ac:chgData name="Siddhartha Paul" userId="0f6d2a28-7c6e-4106-a327-1058fe8b7c05" providerId="ADAL" clId="{C15EC1BA-EE25-4672-92A2-9249CEBF869C}" dt="2024-02-20T18:30:21.296" v="1552" actId="20577"/>
          <ac:spMkLst>
            <pc:docMk/>
            <pc:sldMk cId="1229995330" sldId="2146847206"/>
            <ac:spMk id="28" creationId="{504F474B-9B78-3340-421F-E7E51DE69535}"/>
          </ac:spMkLst>
        </pc:spChg>
        <pc:spChg chg="add mod">
          <ac:chgData name="Siddhartha Paul" userId="0f6d2a28-7c6e-4106-a327-1058fe8b7c05" providerId="ADAL" clId="{C15EC1BA-EE25-4672-92A2-9249CEBF869C}" dt="2024-02-20T18:30:33.503" v="1555" actId="1076"/>
          <ac:spMkLst>
            <pc:docMk/>
            <pc:sldMk cId="1229995330" sldId="2146847206"/>
            <ac:spMk id="29" creationId="{9B72FBD8-3B34-C235-56BA-547A83DC8439}"/>
          </ac:spMkLst>
        </pc:spChg>
        <pc:picChg chg="add mod">
          <ac:chgData name="Siddhartha Paul" userId="0f6d2a28-7c6e-4106-a327-1058fe8b7c05" providerId="ADAL" clId="{C15EC1BA-EE25-4672-92A2-9249CEBF869C}" dt="2024-02-20T18:28:31.380" v="1225" actId="1076"/>
          <ac:picMkLst>
            <pc:docMk/>
            <pc:sldMk cId="1229995330" sldId="2146847206"/>
            <ac:picMk id="2" creationId="{38AEF35F-9ECC-F5CE-C0C5-D718CBBDB7F1}"/>
          </ac:picMkLst>
        </pc:picChg>
        <pc:picChg chg="add del mod">
          <ac:chgData name="Siddhartha Paul" userId="0f6d2a28-7c6e-4106-a327-1058fe8b7c05" providerId="ADAL" clId="{C15EC1BA-EE25-4672-92A2-9249CEBF869C}" dt="2024-02-20T18:13:19.226" v="555" actId="478"/>
          <ac:picMkLst>
            <pc:docMk/>
            <pc:sldMk cId="1229995330" sldId="2146847206"/>
            <ac:picMk id="9" creationId="{FDC71FAB-0581-E643-BED2-ADEF58A75EF9}"/>
          </ac:picMkLst>
        </pc:picChg>
        <pc:picChg chg="del">
          <ac:chgData name="Siddhartha Paul" userId="0f6d2a28-7c6e-4106-a327-1058fe8b7c05" providerId="ADAL" clId="{C15EC1BA-EE25-4672-92A2-9249CEBF869C}" dt="2024-02-20T18:10:37.507" v="412" actId="478"/>
          <ac:picMkLst>
            <pc:docMk/>
            <pc:sldMk cId="1229995330" sldId="2146847206"/>
            <ac:picMk id="15" creationId="{8BD5B913-2304-736F-72A9-F81BEB69D83A}"/>
          </ac:picMkLst>
        </pc:picChg>
        <pc:picChg chg="del">
          <ac:chgData name="Siddhartha Paul" userId="0f6d2a28-7c6e-4106-a327-1058fe8b7c05" providerId="ADAL" clId="{C15EC1BA-EE25-4672-92A2-9249CEBF869C}" dt="2024-02-20T18:10:37.507" v="412" actId="478"/>
          <ac:picMkLst>
            <pc:docMk/>
            <pc:sldMk cId="1229995330" sldId="2146847206"/>
            <ac:picMk id="16" creationId="{B256BAEE-7590-398D-3EF9-965DA67545D4}"/>
          </ac:picMkLst>
        </pc:picChg>
        <pc:picChg chg="add del mod">
          <ac:chgData name="Siddhartha Paul" userId="0f6d2a28-7c6e-4106-a327-1058fe8b7c05" providerId="ADAL" clId="{C15EC1BA-EE25-4672-92A2-9249CEBF869C}" dt="2024-02-20T18:14:20.256" v="565" actId="478"/>
          <ac:picMkLst>
            <pc:docMk/>
            <pc:sldMk cId="1229995330" sldId="2146847206"/>
            <ac:picMk id="21" creationId="{16E0FECD-80E8-7A69-1E7E-19D404BF125C}"/>
          </ac:picMkLst>
        </pc:picChg>
        <pc:picChg chg="del">
          <ac:chgData name="Siddhartha Paul" userId="0f6d2a28-7c6e-4106-a327-1058fe8b7c05" providerId="ADAL" clId="{C15EC1BA-EE25-4672-92A2-9249CEBF869C}" dt="2024-02-20T18:10:37.507" v="412" actId="478"/>
          <ac:picMkLst>
            <pc:docMk/>
            <pc:sldMk cId="1229995330" sldId="2146847206"/>
            <ac:picMk id="1026" creationId="{A42AFFB8-1CCF-DC27-7144-0D02F931F7EE}"/>
          </ac:picMkLst>
        </pc:picChg>
        <pc:picChg chg="del">
          <ac:chgData name="Siddhartha Paul" userId="0f6d2a28-7c6e-4106-a327-1058fe8b7c05" providerId="ADAL" clId="{C15EC1BA-EE25-4672-92A2-9249CEBF869C}" dt="2024-02-20T18:10:37.507" v="412" actId="478"/>
          <ac:picMkLst>
            <pc:docMk/>
            <pc:sldMk cId="1229995330" sldId="2146847206"/>
            <ac:picMk id="1028" creationId="{DB6E6637-669D-077B-E441-459CB5D852E2}"/>
          </ac:picMkLst>
        </pc:picChg>
        <pc:picChg chg="del">
          <ac:chgData name="Siddhartha Paul" userId="0f6d2a28-7c6e-4106-a327-1058fe8b7c05" providerId="ADAL" clId="{C15EC1BA-EE25-4672-92A2-9249CEBF869C}" dt="2024-02-20T18:10:37.507" v="412" actId="478"/>
          <ac:picMkLst>
            <pc:docMk/>
            <pc:sldMk cId="1229995330" sldId="2146847206"/>
            <ac:picMk id="1030" creationId="{864E6165-B633-987F-B993-8865F754F630}"/>
          </ac:picMkLst>
        </pc:picChg>
        <pc:picChg chg="del">
          <ac:chgData name="Siddhartha Paul" userId="0f6d2a28-7c6e-4106-a327-1058fe8b7c05" providerId="ADAL" clId="{C15EC1BA-EE25-4672-92A2-9249CEBF869C}" dt="2024-02-20T18:10:37.507" v="412" actId="478"/>
          <ac:picMkLst>
            <pc:docMk/>
            <pc:sldMk cId="1229995330" sldId="2146847206"/>
            <ac:picMk id="1032" creationId="{9052E148-FB31-8DA9-4F6E-6728DC70E078}"/>
          </ac:picMkLst>
        </pc:picChg>
        <pc:picChg chg="del">
          <ac:chgData name="Siddhartha Paul" userId="0f6d2a28-7c6e-4106-a327-1058fe8b7c05" providerId="ADAL" clId="{C15EC1BA-EE25-4672-92A2-9249CEBF869C}" dt="2024-02-20T18:10:37.507" v="412" actId="478"/>
          <ac:picMkLst>
            <pc:docMk/>
            <pc:sldMk cId="1229995330" sldId="2146847206"/>
            <ac:picMk id="1034" creationId="{A3C9DC8C-9359-23C6-0CBA-E18285BC37EC}"/>
          </ac:picMkLst>
        </pc:picChg>
        <pc:picChg chg="add mod">
          <ac:chgData name="Siddhartha Paul" userId="0f6d2a28-7c6e-4106-a327-1058fe8b7c05" providerId="ADAL" clId="{C15EC1BA-EE25-4672-92A2-9249CEBF869C}" dt="2024-02-20T18:14:17.981" v="564" actId="1076"/>
          <ac:picMkLst>
            <pc:docMk/>
            <pc:sldMk cId="1229995330" sldId="2146847206"/>
            <ac:picMk id="2050" creationId="{7D3036A9-BE50-7FDD-5DC5-1BEE4DC8AB9A}"/>
          </ac:picMkLst>
        </pc:picChg>
      </pc:sldChg>
      <pc:sldChg chg="add del">
        <pc:chgData name="Siddhartha Paul" userId="0f6d2a28-7c6e-4106-a327-1058fe8b7c05" providerId="ADAL" clId="{C15EC1BA-EE25-4672-92A2-9249CEBF869C}" dt="2024-02-20T18:56:56.834" v="2173" actId="47"/>
        <pc:sldMkLst>
          <pc:docMk/>
          <pc:sldMk cId="1347022567" sldId="2146847207"/>
        </pc:sldMkLst>
      </pc:sldChg>
      <pc:sldChg chg="addSp delSp modSp add del mod ord addAnim delAnim modAnim">
        <pc:chgData name="Siddhartha Paul" userId="0f6d2a28-7c6e-4106-a327-1058fe8b7c05" providerId="ADAL" clId="{C15EC1BA-EE25-4672-92A2-9249CEBF869C}" dt="2024-02-22T07:04:16.710" v="12166"/>
        <pc:sldMkLst>
          <pc:docMk/>
          <pc:sldMk cId="952818648" sldId="2146847208"/>
        </pc:sldMkLst>
        <pc:spChg chg="add mod">
          <ac:chgData name="Siddhartha Paul" userId="0f6d2a28-7c6e-4106-a327-1058fe8b7c05" providerId="ADAL" clId="{C15EC1BA-EE25-4672-92A2-9249CEBF869C}" dt="2024-02-22T06:55:33.581" v="11868" actId="20577"/>
          <ac:spMkLst>
            <pc:docMk/>
            <pc:sldMk cId="952818648" sldId="2146847208"/>
            <ac:spMk id="2" creationId="{E50A9452-4192-C8B8-C32D-65F63B9BF2E6}"/>
          </ac:spMkLst>
        </pc:spChg>
        <pc:spChg chg="add mod">
          <ac:chgData name="Siddhartha Paul" userId="0f6d2a28-7c6e-4106-a327-1058fe8b7c05" providerId="ADAL" clId="{C15EC1BA-EE25-4672-92A2-9249CEBF869C}" dt="2024-02-20T18:41:03.557" v="1854" actId="207"/>
          <ac:spMkLst>
            <pc:docMk/>
            <pc:sldMk cId="952818648" sldId="2146847208"/>
            <ac:spMk id="3" creationId="{4C4123E2-6688-3177-7F67-EC77BEFE0F27}"/>
          </ac:spMkLst>
        </pc:spChg>
        <pc:spChg chg="add del mod">
          <ac:chgData name="Siddhartha Paul" userId="0f6d2a28-7c6e-4106-a327-1058fe8b7c05" providerId="ADAL" clId="{C15EC1BA-EE25-4672-92A2-9249CEBF869C}" dt="2024-02-20T18:58:04.548" v="2188" actId="22"/>
          <ac:spMkLst>
            <pc:docMk/>
            <pc:sldMk cId="952818648" sldId="2146847208"/>
            <ac:spMk id="4" creationId="{079D13BF-EDF8-159A-31C8-9F825C65D959}"/>
          </ac:spMkLst>
        </pc:spChg>
        <pc:spChg chg="add del">
          <ac:chgData name="Siddhartha Paul" userId="0f6d2a28-7c6e-4106-a327-1058fe8b7c05" providerId="ADAL" clId="{C15EC1BA-EE25-4672-92A2-9249CEBF869C}" dt="2024-02-22T05:31:06.393" v="10754" actId="478"/>
          <ac:spMkLst>
            <pc:docMk/>
            <pc:sldMk cId="952818648" sldId="2146847208"/>
            <ac:spMk id="4" creationId="{6E5670C1-B226-5543-7CC0-171EF2513E0A}"/>
          </ac:spMkLst>
        </pc:spChg>
        <pc:spChg chg="add del">
          <ac:chgData name="Siddhartha Paul" userId="0f6d2a28-7c6e-4106-a327-1058fe8b7c05" providerId="ADAL" clId="{C15EC1BA-EE25-4672-92A2-9249CEBF869C}" dt="2024-02-20T18:39:41.355" v="1568" actId="478"/>
          <ac:spMkLst>
            <pc:docMk/>
            <pc:sldMk cId="952818648" sldId="2146847208"/>
            <ac:spMk id="4" creationId="{6FC7DA09-AC43-961C-6048-3C9D4A2047DF}"/>
          </ac:spMkLst>
        </pc:spChg>
        <pc:spChg chg="add mod">
          <ac:chgData name="Siddhartha Paul" userId="0f6d2a28-7c6e-4106-a327-1058fe8b7c05" providerId="ADAL" clId="{C15EC1BA-EE25-4672-92A2-9249CEBF869C}" dt="2024-02-22T05:57:15.648" v="11456" actId="14100"/>
          <ac:spMkLst>
            <pc:docMk/>
            <pc:sldMk cId="952818648" sldId="2146847208"/>
            <ac:spMk id="5" creationId="{1C337CAB-7AB9-9112-6D24-07E5E1038366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8" creationId="{A5DE9B06-48E1-2906-4ED0-C9E060B8F569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9" creationId="{69FCA9CB-F3AE-5EDB-26F5-D66C2A3C272B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10" creationId="{2216975E-A78C-D2E0-ADD5-77A6AC0E6F7E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11" creationId="{432B7C36-CA15-557F-EBCB-746180B91C5F}"/>
          </ac:spMkLst>
        </pc:spChg>
        <pc:spChg chg="add del mod">
          <ac:chgData name="Siddhartha Paul" userId="0f6d2a28-7c6e-4106-a327-1058fe8b7c05" providerId="ADAL" clId="{C15EC1BA-EE25-4672-92A2-9249CEBF869C}" dt="2024-02-22T04:30:57.153" v="10279" actId="478"/>
          <ac:spMkLst>
            <pc:docMk/>
            <pc:sldMk cId="952818648" sldId="2146847208"/>
            <ac:spMk id="12" creationId="{81AF1D09-5C53-5618-D3EE-4BA63337A2D7}"/>
          </ac:spMkLst>
        </pc:spChg>
        <pc:spChg chg="del">
          <ac:chgData name="Siddhartha Paul" userId="0f6d2a28-7c6e-4106-a327-1058fe8b7c05" providerId="ADAL" clId="{C15EC1BA-EE25-4672-92A2-9249CEBF869C}" dt="2024-02-20T18:37:41.644" v="1559" actId="478"/>
          <ac:spMkLst>
            <pc:docMk/>
            <pc:sldMk cId="952818648" sldId="2146847208"/>
            <ac:spMk id="12" creationId="{E78DB2A1-090A-739C-CE10-5A4BBA30B00A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13" creationId="{801B67B0-CE06-F63C-D458-9FF3AFAFDC47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14" creationId="{F86A0E6F-2157-C2A5-97D5-1E5165CA7532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15" creationId="{49F059DF-E0B4-8AC1-CC7E-999E4EF631FE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16" creationId="{26C770D4-A799-54D3-7B0B-DA38CC9EEE20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17" creationId="{B897101E-AC6C-AC3A-8DC2-DBC63CF5D01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18" creationId="{42954E21-6E6F-363C-C9D8-788F76DBC3BA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19" creationId="{BFCCC313-7A3A-4F28-C73C-DE39E9D8416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" creationId="{1AF5DD7B-D43E-9766-7E05-7C596FBB8644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" creationId="{ECBF7CF9-D800-7DDA-1B7D-45055E4C4F24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2" creationId="{4FEFC1E4-0CAB-7841-F22B-072EAA7C6080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3" creationId="{5931C601-050F-1963-11EB-5A76048D97D0}"/>
          </ac:spMkLst>
        </pc:spChg>
        <pc:spChg chg="del">
          <ac:chgData name="Siddhartha Paul" userId="0f6d2a28-7c6e-4106-a327-1058fe8b7c05" providerId="ADAL" clId="{C15EC1BA-EE25-4672-92A2-9249CEBF869C}" dt="2024-02-20T18:37:39.185" v="1558" actId="478"/>
          <ac:spMkLst>
            <pc:docMk/>
            <pc:sldMk cId="952818648" sldId="2146847208"/>
            <ac:spMk id="24" creationId="{329F9585-B591-E009-C250-8A8112CF3EC9}"/>
          </ac:spMkLst>
        </pc:spChg>
        <pc:spChg chg="add del mod">
          <ac:chgData name="Siddhartha Paul" userId="0f6d2a28-7c6e-4106-a327-1058fe8b7c05" providerId="ADAL" clId="{C15EC1BA-EE25-4672-92A2-9249CEBF869C}" dt="2024-02-22T04:30:59.841" v="10280" actId="478"/>
          <ac:spMkLst>
            <pc:docMk/>
            <pc:sldMk cId="952818648" sldId="2146847208"/>
            <ac:spMk id="24" creationId="{E2F99286-F64D-E5B0-A5EE-8CB16F216C5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5" creationId="{B58E5E35-4C7C-1A9D-971A-0D91FCF50669}"/>
          </ac:spMkLst>
        </pc:spChg>
        <pc:spChg chg="del">
          <ac:chgData name="Siddhartha Paul" userId="0f6d2a28-7c6e-4106-a327-1058fe8b7c05" providerId="ADAL" clId="{C15EC1BA-EE25-4672-92A2-9249CEBF869C}" dt="2024-02-20T18:37:39.185" v="1558" actId="478"/>
          <ac:spMkLst>
            <pc:docMk/>
            <pc:sldMk cId="952818648" sldId="2146847208"/>
            <ac:spMk id="26" creationId="{40C9E54A-9CF8-9DB4-BFC0-135F8F337287}"/>
          </ac:spMkLst>
        </pc:spChg>
        <pc:spChg chg="add mod">
          <ac:chgData name="Siddhartha Paul" userId="0f6d2a28-7c6e-4106-a327-1058fe8b7c05" providerId="ADAL" clId="{C15EC1BA-EE25-4672-92A2-9249CEBF869C}" dt="2024-02-22T07:04:16.710" v="12166"/>
          <ac:spMkLst>
            <pc:docMk/>
            <pc:sldMk cId="952818648" sldId="2146847208"/>
            <ac:spMk id="26" creationId="{CED2ABBA-1734-E57F-20E4-0F2CC43D5D26}"/>
          </ac:spMkLst>
        </pc:spChg>
        <pc:spChg chg="del">
          <ac:chgData name="Siddhartha Paul" userId="0f6d2a28-7c6e-4106-a327-1058fe8b7c05" providerId="ADAL" clId="{C15EC1BA-EE25-4672-92A2-9249CEBF869C}" dt="2024-02-20T18:37:39.185" v="1558" actId="478"/>
          <ac:spMkLst>
            <pc:docMk/>
            <pc:sldMk cId="952818648" sldId="2146847208"/>
            <ac:spMk id="27" creationId="{33B62C5A-82E6-E823-136B-C0B7560E179B}"/>
          </ac:spMkLst>
        </pc:spChg>
        <pc:spChg chg="add mod">
          <ac:chgData name="Siddhartha Paul" userId="0f6d2a28-7c6e-4106-a327-1058fe8b7c05" providerId="ADAL" clId="{C15EC1BA-EE25-4672-92A2-9249CEBF869C}" dt="2024-02-22T05:38:29.403" v="10920" actId="408"/>
          <ac:spMkLst>
            <pc:docMk/>
            <pc:sldMk cId="952818648" sldId="2146847208"/>
            <ac:spMk id="27" creationId="{A6F18A54-128E-7555-07AA-7C91BBF31E4F}"/>
          </ac:spMkLst>
        </pc:spChg>
        <pc:spChg chg="del">
          <ac:chgData name="Siddhartha Paul" userId="0f6d2a28-7c6e-4106-a327-1058fe8b7c05" providerId="ADAL" clId="{C15EC1BA-EE25-4672-92A2-9249CEBF869C}" dt="2024-02-20T18:37:39.185" v="1558" actId="478"/>
          <ac:spMkLst>
            <pc:docMk/>
            <pc:sldMk cId="952818648" sldId="2146847208"/>
            <ac:spMk id="28" creationId="{504F474B-9B78-3340-421F-E7E51DE69535}"/>
          </ac:spMkLst>
        </pc:spChg>
        <pc:spChg chg="add mod">
          <ac:chgData name="Siddhartha Paul" userId="0f6d2a28-7c6e-4106-a327-1058fe8b7c05" providerId="ADAL" clId="{C15EC1BA-EE25-4672-92A2-9249CEBF869C}" dt="2024-02-22T05:38:29.403" v="10920" actId="408"/>
          <ac:spMkLst>
            <pc:docMk/>
            <pc:sldMk cId="952818648" sldId="2146847208"/>
            <ac:spMk id="28" creationId="{A0722498-2D27-697D-97C7-C73FA4BBCDB2}"/>
          </ac:spMkLst>
        </pc:spChg>
        <pc:spChg chg="del">
          <ac:chgData name="Siddhartha Paul" userId="0f6d2a28-7c6e-4106-a327-1058fe8b7c05" providerId="ADAL" clId="{C15EC1BA-EE25-4672-92A2-9249CEBF869C}" dt="2024-02-20T18:37:39.185" v="1558" actId="478"/>
          <ac:spMkLst>
            <pc:docMk/>
            <pc:sldMk cId="952818648" sldId="2146847208"/>
            <ac:spMk id="29" creationId="{9B72FBD8-3B34-C235-56BA-547A83DC8439}"/>
          </ac:spMkLst>
        </pc:spChg>
        <pc:spChg chg="add mod">
          <ac:chgData name="Siddhartha Paul" userId="0f6d2a28-7c6e-4106-a327-1058fe8b7c05" providerId="ADAL" clId="{C15EC1BA-EE25-4672-92A2-9249CEBF869C}" dt="2024-02-22T05:38:29.403" v="10920" actId="408"/>
          <ac:spMkLst>
            <pc:docMk/>
            <pc:sldMk cId="952818648" sldId="2146847208"/>
            <ac:spMk id="29" creationId="{A493FF92-E09B-8305-06BD-B6FBA46B4BE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30" creationId="{68ECDF29-59DE-0754-2F37-29B9E2514A6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31" creationId="{851276CD-F2E9-FB05-689E-BBF266FD901F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32" creationId="{FE87BD3C-704E-9025-BEBE-DA19AC161BD9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33" creationId="{D7F17575-8152-A589-5648-67419673D154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34" creationId="{FC08CA05-21A0-36A2-A9EF-54AC2A992B29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35" creationId="{4A5F1861-9CA6-03C4-7070-5E67588A9C7B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36" creationId="{7865EB14-A3D5-821B-71D6-84B6ED5FDD91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37" creationId="{FA9A11BC-3C41-59F6-A697-54E5DABA9141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38" creationId="{44A23769-E82D-CAB6-7483-7941445EAA0D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39" creationId="{019ABD83-EC23-E18D-AF45-C5AA6BBF6E7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40" creationId="{D58C7F2D-A67D-E74F-C28F-D1CFD7491834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41" creationId="{C6490340-86D7-01C0-F3D2-C290970E7109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42" creationId="{486C2570-9E6B-9F3B-BE94-11A05731201B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43" creationId="{DC82D460-1A71-E2E8-9102-274EA766CB15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44" creationId="{793AEEBD-4BF0-B885-14E1-B71BF4C8B89F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45" creationId="{10A4D69D-2F0D-2B01-779B-9657697C59F4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46" creationId="{99B40E30-E3EF-FE54-F0BE-6935CEFDBF8D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47" creationId="{0B34572B-B2D0-1C28-222A-A6677471C2D6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48" creationId="{13A92C91-B769-4F11-97EE-BF96232E5A4D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49" creationId="{0D8DA1BE-2FD4-C3F6-D042-BD0692CDD9FF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50" creationId="{051F2F72-926A-0241-5521-D5529DBE5EB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51" creationId="{0828269D-9624-BA52-4BC3-A5E6859014A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52" creationId="{3C9CDE92-F5BD-BB65-78DB-B0457FDFC63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53" creationId="{AC510E21-8376-CE95-15AB-EF4978E005D4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54" creationId="{EDB97C24-790E-FF86-5167-821D264AAEA1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55" creationId="{D25107D8-F1C0-FDA7-5DE7-25AB203E11DD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56" creationId="{F37CB740-B99B-519A-A51E-8EB0E5E7BFFA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57" creationId="{8EFDFD87-BAFB-6EDC-B0BC-33A61E2392EC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58" creationId="{B52413BD-1917-5546-2E1E-824076425ABF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59" creationId="{EF662915-56BF-149F-3364-EBE040707B7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60" creationId="{13AEC6C8-5655-EFF4-6754-BC42EA73500A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61" creationId="{C1EB53D9-3345-4B94-16A6-1D5817C8DAD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62" creationId="{5C047A0C-E158-7D19-A608-E963813F8A0B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63" creationId="{1DC3D5DF-DD1E-0CA4-FF45-BB2BF5C6E0F3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49" creationId="{B804918D-7963-C499-419E-27559909AB85}"/>
          </ac:spMkLst>
        </pc:spChg>
        <pc:spChg chg="add mod">
          <ac:chgData name="Siddhartha Paul" userId="0f6d2a28-7c6e-4106-a327-1058fe8b7c05" providerId="ADAL" clId="{C15EC1BA-EE25-4672-92A2-9249CEBF869C}" dt="2024-02-22T05:37:25.407" v="10914" actId="207"/>
          <ac:spMkLst>
            <pc:docMk/>
            <pc:sldMk cId="952818648" sldId="2146847208"/>
            <ac:spMk id="2050" creationId="{763341B6-D420-9CFD-242D-FE87BAD29CD2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51" creationId="{56839ABF-23A7-DEC5-55B4-D6663E6D30AF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52" creationId="{0CF98A39-5B64-94E2-2F81-84C65D9EB77E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53" creationId="{1589C011-2FE0-EF25-5054-861FE23FCAE6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54" creationId="{E79609BD-D068-89D9-87F6-16634C477F72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55" creationId="{AC43EA23-53C9-734A-2985-22A541C4836E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56" creationId="{9B4EC39D-8BCA-21ED-59BB-157A0B9CBD3E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57" creationId="{1BA40383-C3B5-06D9-74E4-E16C41F8ACE6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58" creationId="{012122EF-E2CA-4E7C-3401-52256219533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59" creationId="{48F674A4-1CC1-E241-4F2F-6E482E948C0D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60" creationId="{1066994F-FDD6-D3E0-70D9-ADD877D4B83F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61" creationId="{05A3E9FF-15F2-9C0E-AF50-240369B81067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62" creationId="{F97E1B76-5C17-95AF-A373-2817689E1C2E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63" creationId="{121988E2-D3E0-B1C2-CB4D-4790D9ECD7CB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64" creationId="{61AC2789-FAC3-FF58-9608-5D00D58FA67C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65" creationId="{E2B98AEB-37FE-3ED9-AB4F-0A636070C622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66" creationId="{52A12731-B7D6-D03A-8461-80A6F7A78C00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67" creationId="{0B3A873A-506B-7D98-0C38-AB831B37745A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68" creationId="{D31A880E-6806-B4FE-4111-AB843C9A2807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69" creationId="{AD58F53C-9E97-7801-0DCD-04815B7B379B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70" creationId="{FD1D1ABD-972C-054D-6EB0-387536300D84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71" creationId="{C77A9222-C308-4774-5C3A-AB64E959B62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72" creationId="{B7490943-DC35-EAFB-5737-F9444D60FB9E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73" creationId="{990A736C-50AD-30BD-98CE-BD06AFEF9C10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74" creationId="{58405C2E-D74C-1D43-BC98-F350B1F1E24B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75" creationId="{3BFB65FE-7D47-B226-D980-B4BB4F962903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76" creationId="{1A820437-7729-4708-2315-1C490B466292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77" creationId="{475E054D-6C57-78B1-7371-929034E37780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78" creationId="{2772F312-20A7-22D1-9D09-DA46DDF4245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79" creationId="{25A5C943-AE10-2CFB-97D2-9CCE36126F0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80" creationId="{12AADEE3-9170-DC0C-86E5-823D55D906BA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81" creationId="{EC34C67F-677E-2FD4-39BD-D9B7A6A72E03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82" creationId="{CEDBDC39-6FF8-2092-D24F-68CD813E36CA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83" creationId="{4D9F7C14-EE22-7183-B37B-5831006F675D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84" creationId="{C875E227-2A9B-D9EE-BA4F-67E8AFF0E031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85" creationId="{0E7D8C74-B639-B0C7-A523-9E526BFC9E51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86" creationId="{34BD4DFC-5EB2-057F-DC38-83998EAB712D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87" creationId="{A82B2BFE-3BA1-C951-F85F-F2D08388D639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88" creationId="{EAFB9B8D-4196-55C0-8820-8EEA54800F0F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89" creationId="{C29C4E77-718F-766E-E0C9-842A048B39D3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90" creationId="{2BCE0511-D24D-12A6-6B9C-0EF3F1E51402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91" creationId="{5194CB7F-BA25-1E84-6CD5-F557B41A6B6D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92" creationId="{DFF278FE-587E-F182-4908-1C8C39DCBBB3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93" creationId="{9F1A9EFA-DBBA-72C7-B288-15D0936778CD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94" creationId="{197A233D-10FB-64FE-4F82-C9EAC4453192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95" creationId="{74CE96FF-C3CF-9EF2-463D-F63381D2B19E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96" creationId="{0AA4A290-DC9D-B803-B7D7-CEC79C72081D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97" creationId="{16D6CA70-EF55-6D35-F766-7C70BA7AEB60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099" creationId="{B0CD1262-20E7-458B-6833-4B5726E79696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00" creationId="{95CB0991-24DC-6F3D-0870-682564C04997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01" creationId="{0C952B35-F26A-D5F6-A4FF-1420B0B71FCC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02" creationId="{8B12F068-BA3A-3F80-3AEC-A8F502E7C420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03" creationId="{2AAFB574-5462-17A4-CDAF-BD221C0B6470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04" creationId="{2D281729-C4E6-D04A-4942-6E729AD86629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05" creationId="{E7A3F68B-BB01-00A3-4097-9ABE9320D66C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06" creationId="{FBCE8D05-BFEB-601C-A753-C233A6C28C60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07" creationId="{34C6B38D-B556-ED40-819E-01F2B5434C22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08" creationId="{897E0795-FD32-6DD1-8000-64D76F503289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09" creationId="{54D1744E-F4DA-A403-4853-9DE94A79726B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10" creationId="{49783FFC-24E5-19E2-EB2A-A15FB6DF2B7F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11" creationId="{78D4445B-853A-72E1-D54C-F13D75F6BF80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12" creationId="{33146CCA-E0C1-D4C5-A247-E0849027DED0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13" creationId="{D1DC0F03-6707-756C-53C2-F98946F88BE0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14" creationId="{E4AB2A24-2BDA-1429-176B-65B874BBAC7E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15" creationId="{D36F1ED6-69D4-9C3C-3993-02F51DD99E9B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16" creationId="{4BC77725-A4E3-BE89-1DA0-50A35FD982F9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17" creationId="{12D2F9DB-36F4-822A-8591-3FAA3BC2CAB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18" creationId="{9CA15859-4D1B-2C37-F636-F0D9E039ECD0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19" creationId="{EBEA9B42-D403-C7B9-B8C0-156B5E1E62FB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20" creationId="{93F79241-EB76-C96E-E567-ACA23941A979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21" creationId="{2F12BDC0-E658-C1AC-978B-2C3CEF07ECEE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22" creationId="{B53EE789-3C50-347D-25E5-9BF5C8C6AC02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23" creationId="{50DF2AED-ED94-2D84-2F60-6069283AD030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24" creationId="{E8A0698C-9B02-A17C-F86A-55E7F13BAF46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25" creationId="{7CCFA203-0CFE-1CC3-2C7F-F9A91F424616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26" creationId="{4124AA7B-021F-0727-4705-D4F71DAB8257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27" creationId="{25F0DA0F-AC20-4C89-FD31-EE459389D929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28" creationId="{A6448EDD-94A3-01C2-EA85-691087D365E1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29" creationId="{A07FE9CD-98F2-5A15-0F87-F1B701661415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30" creationId="{CBF23A19-E3D8-62A2-2326-040D91FD81F2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31" creationId="{5B1AE0F6-5EDD-15F3-A0E8-ECC5C9D19B9B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32" creationId="{DD298F57-60E8-8A68-DFE7-EADADEBBA8AB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33" creationId="{5845C7E2-27E5-D365-54E6-DA28080C2D6F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34" creationId="{0DE18A97-185D-DA04-CF62-E8A8DDFE711E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35" creationId="{7DC28916-6C43-7D3D-2DE9-A5EF4DEBBB0E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36" creationId="{6CD7A080-CAA2-DD00-255A-EFDEF5E45117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37" creationId="{332C2DCC-1845-A8F4-9A30-7F33BAD10DD0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38" creationId="{0E43D17F-046E-90C7-1EEB-097596839FF2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39" creationId="{5759684E-E51E-8EDF-EFFB-9C90AF5A50CD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40" creationId="{E142FF6C-BC74-5784-B0B2-E6B5C6EE7A44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41" creationId="{3D1CF482-0FD6-697D-5AEF-CFCBF300A798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42" creationId="{853A4B23-F8A8-1FA9-F433-0ADC4D12F8A4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43" creationId="{8200D6D4-37DA-B591-C98F-E70665F0B569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44" creationId="{67B46AE2-9A99-E617-6D3B-5889E31A382E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45" creationId="{D9FE10A6-6CA2-B8BF-BF3F-38BCB6A6E7A1}"/>
          </ac:spMkLst>
        </pc:spChg>
        <pc:spChg chg="mod">
          <ac:chgData name="Siddhartha Paul" userId="0f6d2a28-7c6e-4106-a327-1058fe8b7c05" providerId="ADAL" clId="{C15EC1BA-EE25-4672-92A2-9249CEBF869C}" dt="2024-02-20T18:41:39.381" v="1858"/>
          <ac:spMkLst>
            <pc:docMk/>
            <pc:sldMk cId="952818648" sldId="2146847208"/>
            <ac:spMk id="2146" creationId="{5B53E476-A6C8-E40C-8991-22623361D803}"/>
          </ac:spMkLst>
        </pc:spChg>
        <pc:spChg chg="add del mod">
          <ac:chgData name="Siddhartha Paul" userId="0f6d2a28-7c6e-4106-a327-1058fe8b7c05" providerId="ADAL" clId="{C15EC1BA-EE25-4672-92A2-9249CEBF869C}" dt="2024-02-20T18:42:26.301" v="1865" actId="478"/>
          <ac:spMkLst>
            <pc:docMk/>
            <pc:sldMk cId="952818648" sldId="2146847208"/>
            <ac:spMk id="2147" creationId="{F361AAA6-2168-4376-304D-9721408CD181}"/>
          </ac:spMkLst>
        </pc:spChg>
        <pc:spChg chg="add mod">
          <ac:chgData name="Siddhartha Paul" userId="0f6d2a28-7c6e-4106-a327-1058fe8b7c05" providerId="ADAL" clId="{C15EC1BA-EE25-4672-92A2-9249CEBF869C}" dt="2024-02-22T05:47:12.850" v="10966" actId="693"/>
          <ac:spMkLst>
            <pc:docMk/>
            <pc:sldMk cId="952818648" sldId="2146847208"/>
            <ac:spMk id="2147" creationId="{F76C3BC2-E280-407C-2D50-E3CDD7E3AD76}"/>
          </ac:spMkLst>
        </pc:spChg>
        <pc:spChg chg="add mod">
          <ac:chgData name="Siddhartha Paul" userId="0f6d2a28-7c6e-4106-a327-1058fe8b7c05" providerId="ADAL" clId="{C15EC1BA-EE25-4672-92A2-9249CEBF869C}" dt="2024-02-22T05:56:21.680" v="11453" actId="14100"/>
          <ac:spMkLst>
            <pc:docMk/>
            <pc:sldMk cId="952818648" sldId="2146847208"/>
            <ac:spMk id="2148" creationId="{A2538AD5-5693-D053-19B1-D0E7E61A29CD}"/>
          </ac:spMkLst>
        </pc:spChg>
        <pc:spChg chg="add mod">
          <ac:chgData name="Siddhartha Paul" userId="0f6d2a28-7c6e-4106-a327-1058fe8b7c05" providerId="ADAL" clId="{C15EC1BA-EE25-4672-92A2-9249CEBF869C}" dt="2024-02-22T05:56:13.861" v="11452" actId="14100"/>
          <ac:spMkLst>
            <pc:docMk/>
            <pc:sldMk cId="952818648" sldId="2146847208"/>
            <ac:spMk id="2149" creationId="{7ED2236D-95CB-D637-7301-9B87E84E9F7E}"/>
          </ac:spMkLst>
        </pc:spChg>
        <pc:spChg chg="mod">
          <ac:chgData name="Siddhartha Paul" userId="0f6d2a28-7c6e-4106-a327-1058fe8b7c05" providerId="ADAL" clId="{C15EC1BA-EE25-4672-92A2-9249CEBF869C}" dt="2024-02-20T18:41:51.334" v="1860"/>
          <ac:spMkLst>
            <pc:docMk/>
            <pc:sldMk cId="952818648" sldId="2146847208"/>
            <ac:spMk id="2149" creationId="{84987A39-AACC-6962-7705-F99D1948635B}"/>
          </ac:spMkLst>
        </pc:spChg>
        <pc:spChg chg="mod">
          <ac:chgData name="Siddhartha Paul" userId="0f6d2a28-7c6e-4106-a327-1058fe8b7c05" providerId="ADAL" clId="{C15EC1BA-EE25-4672-92A2-9249CEBF869C}" dt="2024-02-20T18:41:51.334" v="1860"/>
          <ac:spMkLst>
            <pc:docMk/>
            <pc:sldMk cId="952818648" sldId="2146847208"/>
            <ac:spMk id="2150" creationId="{44C6CAB6-C0E3-F8AF-CD1C-BE94EB7799CD}"/>
          </ac:spMkLst>
        </pc:spChg>
        <pc:spChg chg="add mod">
          <ac:chgData name="Siddhartha Paul" userId="0f6d2a28-7c6e-4106-a327-1058fe8b7c05" providerId="ADAL" clId="{C15EC1BA-EE25-4672-92A2-9249CEBF869C}" dt="2024-02-20T18:57:39.169" v="2181" actId="14100"/>
          <ac:spMkLst>
            <pc:docMk/>
            <pc:sldMk cId="952818648" sldId="2146847208"/>
            <ac:spMk id="2151" creationId="{0C0D5D41-26A0-4C46-F04B-21E280AF51AB}"/>
          </ac:spMkLst>
        </pc:spChg>
        <pc:spChg chg="add mod">
          <ac:chgData name="Siddhartha Paul" userId="0f6d2a28-7c6e-4106-a327-1058fe8b7c05" providerId="ADAL" clId="{C15EC1BA-EE25-4672-92A2-9249CEBF869C}" dt="2024-02-20T18:57:11.983" v="2175" actId="14100"/>
          <ac:spMkLst>
            <pc:docMk/>
            <pc:sldMk cId="952818648" sldId="2146847208"/>
            <ac:spMk id="2152" creationId="{AD3F0538-B6CC-4D11-CF3D-23224D010476}"/>
          </ac:spMkLst>
        </pc:spChg>
        <pc:spChg chg="add mod">
          <ac:chgData name="Siddhartha Paul" userId="0f6d2a28-7c6e-4106-a327-1058fe8b7c05" providerId="ADAL" clId="{C15EC1BA-EE25-4672-92A2-9249CEBF869C}" dt="2024-02-20T18:58:05.331" v="2190" actId="21"/>
          <ac:spMkLst>
            <pc:docMk/>
            <pc:sldMk cId="952818648" sldId="2146847208"/>
            <ac:spMk id="2154" creationId="{5E798D27-111A-753C-69FF-C2D7A8C7E44A}"/>
          </ac:spMkLst>
        </pc:spChg>
        <pc:spChg chg="add mod">
          <ac:chgData name="Siddhartha Paul" userId="0f6d2a28-7c6e-4106-a327-1058fe8b7c05" providerId="ADAL" clId="{C15EC1BA-EE25-4672-92A2-9249CEBF869C}" dt="2024-02-20T18:57:36.535" v="2180" actId="1076"/>
          <ac:spMkLst>
            <pc:docMk/>
            <pc:sldMk cId="952818648" sldId="2146847208"/>
            <ac:spMk id="2156" creationId="{5B98EADD-FA07-2AE5-59C9-B7645DB40A52}"/>
          </ac:spMkLst>
        </pc:spChg>
        <pc:spChg chg="add mod">
          <ac:chgData name="Siddhartha Paul" userId="0f6d2a28-7c6e-4106-a327-1058fe8b7c05" providerId="ADAL" clId="{C15EC1BA-EE25-4672-92A2-9249CEBF869C}" dt="2024-02-20T18:57:45.943" v="2182" actId="1076"/>
          <ac:spMkLst>
            <pc:docMk/>
            <pc:sldMk cId="952818648" sldId="2146847208"/>
            <ac:spMk id="2158" creationId="{C98FD8BC-EBFB-5900-EB85-0C4C118C96F5}"/>
          </ac:spMkLst>
        </pc:spChg>
        <pc:spChg chg="add mod">
          <ac:chgData name="Siddhartha Paul" userId="0f6d2a28-7c6e-4106-a327-1058fe8b7c05" providerId="ADAL" clId="{C15EC1BA-EE25-4672-92A2-9249CEBF869C}" dt="2024-02-20T18:46:04.278" v="1917" actId="1076"/>
          <ac:spMkLst>
            <pc:docMk/>
            <pc:sldMk cId="952818648" sldId="2146847208"/>
            <ac:spMk id="2159" creationId="{794B5CD0-D50D-FFE0-052F-850904BC9AEE}"/>
          </ac:spMkLst>
        </pc:spChg>
        <pc:spChg chg="add mod">
          <ac:chgData name="Siddhartha Paul" userId="0f6d2a28-7c6e-4106-a327-1058fe8b7c05" providerId="ADAL" clId="{C15EC1BA-EE25-4672-92A2-9249CEBF869C}" dt="2024-02-20T18:46:04.278" v="1917" actId="1076"/>
          <ac:spMkLst>
            <pc:docMk/>
            <pc:sldMk cId="952818648" sldId="2146847208"/>
            <ac:spMk id="2160" creationId="{36C81556-AAFB-4AFF-66E0-FDFE747464D4}"/>
          </ac:spMkLst>
        </pc:spChg>
        <pc:spChg chg="add mod">
          <ac:chgData name="Siddhartha Paul" userId="0f6d2a28-7c6e-4106-a327-1058fe8b7c05" providerId="ADAL" clId="{C15EC1BA-EE25-4672-92A2-9249CEBF869C}" dt="2024-02-20T18:46:04.278" v="1917" actId="1076"/>
          <ac:spMkLst>
            <pc:docMk/>
            <pc:sldMk cId="952818648" sldId="2146847208"/>
            <ac:spMk id="2161" creationId="{28341C35-7BEE-D78C-2CAC-A4CF2B07C36B}"/>
          </ac:spMkLst>
        </pc:spChg>
        <pc:spChg chg="add del mod">
          <ac:chgData name="Siddhartha Paul" userId="0f6d2a28-7c6e-4106-a327-1058fe8b7c05" providerId="ADAL" clId="{C15EC1BA-EE25-4672-92A2-9249CEBF869C}" dt="2024-02-20T18:47:53.126" v="1946" actId="478"/>
          <ac:spMkLst>
            <pc:docMk/>
            <pc:sldMk cId="952818648" sldId="2146847208"/>
            <ac:spMk id="2162" creationId="{55CE8232-469F-7C58-2357-5B4FE794BED1}"/>
          </ac:spMkLst>
        </pc:spChg>
        <pc:spChg chg="mod">
          <ac:chgData name="Siddhartha Paul" userId="0f6d2a28-7c6e-4106-a327-1058fe8b7c05" providerId="ADAL" clId="{C15EC1BA-EE25-4672-92A2-9249CEBF869C}" dt="2024-02-20T18:47:26.037" v="1936" actId="208"/>
          <ac:spMkLst>
            <pc:docMk/>
            <pc:sldMk cId="952818648" sldId="2146847208"/>
            <ac:spMk id="2164" creationId="{9B67A79B-C585-CB7F-8B88-36469D1C56B2}"/>
          </ac:spMkLst>
        </pc:spChg>
        <pc:spChg chg="mod">
          <ac:chgData name="Siddhartha Paul" userId="0f6d2a28-7c6e-4106-a327-1058fe8b7c05" providerId="ADAL" clId="{C15EC1BA-EE25-4672-92A2-9249CEBF869C}" dt="2024-02-20T18:47:26.037" v="1936" actId="208"/>
          <ac:spMkLst>
            <pc:docMk/>
            <pc:sldMk cId="952818648" sldId="2146847208"/>
            <ac:spMk id="2165" creationId="{84461BFF-B959-AEEB-ADF8-21781A7613D7}"/>
          </ac:spMkLst>
        </pc:spChg>
        <pc:spChg chg="mod">
          <ac:chgData name="Siddhartha Paul" userId="0f6d2a28-7c6e-4106-a327-1058fe8b7c05" providerId="ADAL" clId="{C15EC1BA-EE25-4672-92A2-9249CEBF869C}" dt="2024-02-20T18:47:26.037" v="1936" actId="208"/>
          <ac:spMkLst>
            <pc:docMk/>
            <pc:sldMk cId="952818648" sldId="2146847208"/>
            <ac:spMk id="2166" creationId="{EB400DAF-7EDD-6632-8F53-19540FC7F6E2}"/>
          </ac:spMkLst>
        </pc:spChg>
        <pc:spChg chg="mod">
          <ac:chgData name="Siddhartha Paul" userId="0f6d2a28-7c6e-4106-a327-1058fe8b7c05" providerId="ADAL" clId="{C15EC1BA-EE25-4672-92A2-9249CEBF869C}" dt="2024-02-20T18:47:26.037" v="1936" actId="208"/>
          <ac:spMkLst>
            <pc:docMk/>
            <pc:sldMk cId="952818648" sldId="2146847208"/>
            <ac:spMk id="2167" creationId="{6BCBC1F6-31E3-8BBC-936B-754621BD576E}"/>
          </ac:spMkLst>
        </pc:spChg>
        <pc:spChg chg="mod">
          <ac:chgData name="Siddhartha Paul" userId="0f6d2a28-7c6e-4106-a327-1058fe8b7c05" providerId="ADAL" clId="{C15EC1BA-EE25-4672-92A2-9249CEBF869C}" dt="2024-02-20T18:47:26.037" v="1936" actId="208"/>
          <ac:spMkLst>
            <pc:docMk/>
            <pc:sldMk cId="952818648" sldId="2146847208"/>
            <ac:spMk id="2168" creationId="{A9B9C200-99B6-8CC2-6BB3-00AA3B6332B0}"/>
          </ac:spMkLst>
        </pc:spChg>
        <pc:spChg chg="mod">
          <ac:chgData name="Siddhartha Paul" userId="0f6d2a28-7c6e-4106-a327-1058fe8b7c05" providerId="ADAL" clId="{C15EC1BA-EE25-4672-92A2-9249CEBF869C}" dt="2024-02-20T18:47:26.037" v="1936" actId="208"/>
          <ac:spMkLst>
            <pc:docMk/>
            <pc:sldMk cId="952818648" sldId="2146847208"/>
            <ac:spMk id="2169" creationId="{ABA5FE94-CFC8-3612-960D-C14F874CEF08}"/>
          </ac:spMkLst>
        </pc:spChg>
        <pc:spChg chg="mod">
          <ac:chgData name="Siddhartha Paul" userId="0f6d2a28-7c6e-4106-a327-1058fe8b7c05" providerId="ADAL" clId="{C15EC1BA-EE25-4672-92A2-9249CEBF869C}" dt="2024-02-20T18:47:26.037" v="1936" actId="208"/>
          <ac:spMkLst>
            <pc:docMk/>
            <pc:sldMk cId="952818648" sldId="2146847208"/>
            <ac:spMk id="2170" creationId="{05047744-DA03-4F58-3B5A-15842F6B53C7}"/>
          </ac:spMkLst>
        </pc:spChg>
        <pc:spChg chg="mod">
          <ac:chgData name="Siddhartha Paul" userId="0f6d2a28-7c6e-4106-a327-1058fe8b7c05" providerId="ADAL" clId="{C15EC1BA-EE25-4672-92A2-9249CEBF869C}" dt="2024-02-20T18:47:26.037" v="1936" actId="208"/>
          <ac:spMkLst>
            <pc:docMk/>
            <pc:sldMk cId="952818648" sldId="2146847208"/>
            <ac:spMk id="2171" creationId="{2A2D65D4-65C8-19AB-034D-B265CE01FFF3}"/>
          </ac:spMkLst>
        </pc:spChg>
        <pc:spChg chg="mod">
          <ac:chgData name="Siddhartha Paul" userId="0f6d2a28-7c6e-4106-a327-1058fe8b7c05" providerId="ADAL" clId="{C15EC1BA-EE25-4672-92A2-9249CEBF869C}" dt="2024-02-20T18:47:53.760" v="1947"/>
          <ac:spMkLst>
            <pc:docMk/>
            <pc:sldMk cId="952818648" sldId="2146847208"/>
            <ac:spMk id="2173" creationId="{E420F45B-C4CB-FF0E-5219-98061FF8183E}"/>
          </ac:spMkLst>
        </pc:spChg>
        <pc:spChg chg="mod">
          <ac:chgData name="Siddhartha Paul" userId="0f6d2a28-7c6e-4106-a327-1058fe8b7c05" providerId="ADAL" clId="{C15EC1BA-EE25-4672-92A2-9249CEBF869C}" dt="2024-02-20T18:47:53.760" v="1947"/>
          <ac:spMkLst>
            <pc:docMk/>
            <pc:sldMk cId="952818648" sldId="2146847208"/>
            <ac:spMk id="2174" creationId="{91DD5DA7-8A29-6ACF-4216-AAE7BE232EFB}"/>
          </ac:spMkLst>
        </pc:spChg>
        <pc:spChg chg="mod">
          <ac:chgData name="Siddhartha Paul" userId="0f6d2a28-7c6e-4106-a327-1058fe8b7c05" providerId="ADAL" clId="{C15EC1BA-EE25-4672-92A2-9249CEBF869C}" dt="2024-02-20T18:47:53.760" v="1947"/>
          <ac:spMkLst>
            <pc:docMk/>
            <pc:sldMk cId="952818648" sldId="2146847208"/>
            <ac:spMk id="2175" creationId="{30A3B289-CFAE-A10D-235B-47979FC44BBE}"/>
          </ac:spMkLst>
        </pc:spChg>
        <pc:spChg chg="mod">
          <ac:chgData name="Siddhartha Paul" userId="0f6d2a28-7c6e-4106-a327-1058fe8b7c05" providerId="ADAL" clId="{C15EC1BA-EE25-4672-92A2-9249CEBF869C}" dt="2024-02-20T18:47:53.760" v="1947"/>
          <ac:spMkLst>
            <pc:docMk/>
            <pc:sldMk cId="952818648" sldId="2146847208"/>
            <ac:spMk id="2176" creationId="{A24DDC41-8B52-07B4-4C85-07EA5082B07A}"/>
          </ac:spMkLst>
        </pc:spChg>
        <pc:spChg chg="mod">
          <ac:chgData name="Siddhartha Paul" userId="0f6d2a28-7c6e-4106-a327-1058fe8b7c05" providerId="ADAL" clId="{C15EC1BA-EE25-4672-92A2-9249CEBF869C}" dt="2024-02-20T18:47:53.760" v="1947"/>
          <ac:spMkLst>
            <pc:docMk/>
            <pc:sldMk cId="952818648" sldId="2146847208"/>
            <ac:spMk id="2177" creationId="{2115F56E-2AE1-F78D-DE22-1FDAB66BC6D4}"/>
          </ac:spMkLst>
        </pc:spChg>
        <pc:spChg chg="mod">
          <ac:chgData name="Siddhartha Paul" userId="0f6d2a28-7c6e-4106-a327-1058fe8b7c05" providerId="ADAL" clId="{C15EC1BA-EE25-4672-92A2-9249CEBF869C}" dt="2024-02-20T18:47:53.760" v="1947"/>
          <ac:spMkLst>
            <pc:docMk/>
            <pc:sldMk cId="952818648" sldId="2146847208"/>
            <ac:spMk id="2178" creationId="{1E44BE83-637A-7F3A-6C2F-AA00CECEC6EB}"/>
          </ac:spMkLst>
        </pc:spChg>
        <pc:spChg chg="mod">
          <ac:chgData name="Siddhartha Paul" userId="0f6d2a28-7c6e-4106-a327-1058fe8b7c05" providerId="ADAL" clId="{C15EC1BA-EE25-4672-92A2-9249CEBF869C}" dt="2024-02-20T18:47:53.760" v="1947"/>
          <ac:spMkLst>
            <pc:docMk/>
            <pc:sldMk cId="952818648" sldId="2146847208"/>
            <ac:spMk id="2179" creationId="{6F043E6A-4720-F9A6-A330-4174632593AF}"/>
          </ac:spMkLst>
        </pc:spChg>
        <pc:spChg chg="mod">
          <ac:chgData name="Siddhartha Paul" userId="0f6d2a28-7c6e-4106-a327-1058fe8b7c05" providerId="ADAL" clId="{C15EC1BA-EE25-4672-92A2-9249CEBF869C}" dt="2024-02-20T18:47:53.760" v="1947"/>
          <ac:spMkLst>
            <pc:docMk/>
            <pc:sldMk cId="952818648" sldId="2146847208"/>
            <ac:spMk id="2180" creationId="{816C90E5-7F87-FD8B-34BD-0F4AAFD65829}"/>
          </ac:spMkLst>
        </pc:spChg>
        <pc:spChg chg="mod">
          <ac:chgData name="Siddhartha Paul" userId="0f6d2a28-7c6e-4106-a327-1058fe8b7c05" providerId="ADAL" clId="{C15EC1BA-EE25-4672-92A2-9249CEBF869C}" dt="2024-02-20T18:47:53.760" v="1947"/>
          <ac:spMkLst>
            <pc:docMk/>
            <pc:sldMk cId="952818648" sldId="2146847208"/>
            <ac:spMk id="2181" creationId="{2EB83C3F-BBDD-A4E2-F6C5-933073411885}"/>
          </ac:spMkLst>
        </pc:spChg>
        <pc:spChg chg="mod">
          <ac:chgData name="Siddhartha Paul" userId="0f6d2a28-7c6e-4106-a327-1058fe8b7c05" providerId="ADAL" clId="{C15EC1BA-EE25-4672-92A2-9249CEBF869C}" dt="2024-02-20T18:47:53.760" v="1947"/>
          <ac:spMkLst>
            <pc:docMk/>
            <pc:sldMk cId="952818648" sldId="2146847208"/>
            <ac:spMk id="2182" creationId="{F17E6117-797B-BEAC-8DAA-DFCFAF0CBF44}"/>
          </ac:spMkLst>
        </pc:spChg>
        <pc:spChg chg="mod">
          <ac:chgData name="Siddhartha Paul" userId="0f6d2a28-7c6e-4106-a327-1058fe8b7c05" providerId="ADAL" clId="{C15EC1BA-EE25-4672-92A2-9249CEBF869C}" dt="2024-02-20T18:47:53.760" v="1947"/>
          <ac:spMkLst>
            <pc:docMk/>
            <pc:sldMk cId="952818648" sldId="2146847208"/>
            <ac:spMk id="2183" creationId="{E348BEC9-64FE-9F21-578B-BB601A677361}"/>
          </ac:spMkLst>
        </pc:spChg>
        <pc:spChg chg="mod">
          <ac:chgData name="Siddhartha Paul" userId="0f6d2a28-7c6e-4106-a327-1058fe8b7c05" providerId="ADAL" clId="{C15EC1BA-EE25-4672-92A2-9249CEBF869C}" dt="2024-02-20T18:47:53.760" v="1947"/>
          <ac:spMkLst>
            <pc:docMk/>
            <pc:sldMk cId="952818648" sldId="2146847208"/>
            <ac:spMk id="2184" creationId="{DCB6F395-478B-FDC6-DEE6-2891E97BE2C6}"/>
          </ac:spMkLst>
        </pc:spChg>
        <pc:spChg chg="mod">
          <ac:chgData name="Siddhartha Paul" userId="0f6d2a28-7c6e-4106-a327-1058fe8b7c05" providerId="ADAL" clId="{C15EC1BA-EE25-4672-92A2-9249CEBF869C}" dt="2024-02-20T18:47:53.760" v="1947"/>
          <ac:spMkLst>
            <pc:docMk/>
            <pc:sldMk cId="952818648" sldId="2146847208"/>
            <ac:spMk id="2185" creationId="{CE2DEAF3-329E-5B68-BAB5-B029E94FD1C8}"/>
          </ac:spMkLst>
        </pc:spChg>
        <pc:grpChg chg="add mod">
          <ac:chgData name="Siddhartha Paul" userId="0f6d2a28-7c6e-4106-a327-1058fe8b7c05" providerId="ADAL" clId="{C15EC1BA-EE25-4672-92A2-9249CEBF869C}" dt="2024-02-20T18:41:43.120" v="1859" actId="1076"/>
          <ac:grpSpMkLst>
            <pc:docMk/>
            <pc:sldMk cId="952818648" sldId="2146847208"/>
            <ac:grpSpMk id="6" creationId="{2D7350F7-78BE-EB48-9D80-A79F0D05FCE3}"/>
          </ac:grpSpMkLst>
        </pc:grpChg>
        <pc:grpChg chg="add mod">
          <ac:chgData name="Siddhartha Paul" userId="0f6d2a28-7c6e-4106-a327-1058fe8b7c05" providerId="ADAL" clId="{C15EC1BA-EE25-4672-92A2-9249CEBF869C}" dt="2024-02-20T18:41:43.120" v="1859" actId="1076"/>
          <ac:grpSpMkLst>
            <pc:docMk/>
            <pc:sldMk cId="952818648" sldId="2146847208"/>
            <ac:grpSpMk id="2048" creationId="{BEFD7326-623B-2BD6-CA20-74B593D502C8}"/>
          </ac:grpSpMkLst>
        </pc:grpChg>
        <pc:grpChg chg="add mod">
          <ac:chgData name="Siddhartha Paul" userId="0f6d2a28-7c6e-4106-a327-1058fe8b7c05" providerId="ADAL" clId="{C15EC1BA-EE25-4672-92A2-9249CEBF869C}" dt="2024-02-20T18:41:43.120" v="1859" actId="1076"/>
          <ac:grpSpMkLst>
            <pc:docMk/>
            <pc:sldMk cId="952818648" sldId="2146847208"/>
            <ac:grpSpMk id="2098" creationId="{D260B70C-6D58-491F-DB79-83B3C9AB8655}"/>
          </ac:grpSpMkLst>
        </pc:grpChg>
        <pc:grpChg chg="add del mod">
          <ac:chgData name="Siddhartha Paul" userId="0f6d2a28-7c6e-4106-a327-1058fe8b7c05" providerId="ADAL" clId="{C15EC1BA-EE25-4672-92A2-9249CEBF869C}" dt="2024-02-20T18:46:18.582" v="1918" actId="478"/>
          <ac:grpSpMkLst>
            <pc:docMk/>
            <pc:sldMk cId="952818648" sldId="2146847208"/>
            <ac:grpSpMk id="2148" creationId="{DD9AB4D7-D239-DB6E-1703-245AF15CCF86}"/>
          </ac:grpSpMkLst>
        </pc:grpChg>
        <pc:grpChg chg="add mod">
          <ac:chgData name="Siddhartha Paul" userId="0f6d2a28-7c6e-4106-a327-1058fe8b7c05" providerId="ADAL" clId="{C15EC1BA-EE25-4672-92A2-9249CEBF869C}" dt="2024-02-20T18:47:35.027" v="1943" actId="1076"/>
          <ac:grpSpMkLst>
            <pc:docMk/>
            <pc:sldMk cId="952818648" sldId="2146847208"/>
            <ac:grpSpMk id="2163" creationId="{F8E29425-E76D-CA3E-F78C-B673B365E2EC}"/>
          </ac:grpSpMkLst>
        </pc:grpChg>
        <pc:grpChg chg="add mod">
          <ac:chgData name="Siddhartha Paul" userId="0f6d2a28-7c6e-4106-a327-1058fe8b7c05" providerId="ADAL" clId="{C15EC1BA-EE25-4672-92A2-9249CEBF869C}" dt="2024-02-20T18:48:43.734" v="1957" actId="688"/>
          <ac:grpSpMkLst>
            <pc:docMk/>
            <pc:sldMk cId="952818648" sldId="2146847208"/>
            <ac:grpSpMk id="2172" creationId="{15F1F768-E30C-7EBC-A27A-2C2395492070}"/>
          </ac:grpSpMkLst>
        </pc:grpChg>
        <pc:picChg chg="del">
          <ac:chgData name="Siddhartha Paul" userId="0f6d2a28-7c6e-4106-a327-1058fe8b7c05" providerId="ADAL" clId="{C15EC1BA-EE25-4672-92A2-9249CEBF869C}" dt="2024-02-20T18:37:39.185" v="1558" actId="478"/>
          <ac:picMkLst>
            <pc:docMk/>
            <pc:sldMk cId="952818648" sldId="2146847208"/>
            <ac:picMk id="2" creationId="{38AEF35F-9ECC-F5CE-C0C5-D718CBBDB7F1}"/>
          </ac:picMkLst>
        </pc:picChg>
        <pc:picChg chg="add del mod">
          <ac:chgData name="Siddhartha Paul" userId="0f6d2a28-7c6e-4106-a327-1058fe8b7c05" providerId="ADAL" clId="{C15EC1BA-EE25-4672-92A2-9249CEBF869C}" dt="2024-02-20T18:41:27.257" v="1857" actId="478"/>
          <ac:picMkLst>
            <pc:docMk/>
            <pc:sldMk cId="952818648" sldId="2146847208"/>
            <ac:picMk id="5" creationId="{BEBBC2F1-4FD2-CEC6-1589-9A6FA0591FCD}"/>
          </ac:picMkLst>
        </pc:picChg>
        <pc:picChg chg="del">
          <ac:chgData name="Siddhartha Paul" userId="0f6d2a28-7c6e-4106-a327-1058fe8b7c05" providerId="ADAL" clId="{C15EC1BA-EE25-4672-92A2-9249CEBF869C}" dt="2024-02-20T18:37:39.185" v="1558" actId="478"/>
          <ac:picMkLst>
            <pc:docMk/>
            <pc:sldMk cId="952818648" sldId="2146847208"/>
            <ac:picMk id="2050" creationId="{7D3036A9-BE50-7FDD-5DC5-1BEE4DC8AB9A}"/>
          </ac:picMkLst>
        </pc:picChg>
      </pc:sldChg>
      <pc:sldChg chg="add del">
        <pc:chgData name="Siddhartha Paul" userId="0f6d2a28-7c6e-4106-a327-1058fe8b7c05" providerId="ADAL" clId="{C15EC1BA-EE25-4672-92A2-9249CEBF869C}" dt="2024-02-20T18:58:50.496" v="2192" actId="47"/>
        <pc:sldMkLst>
          <pc:docMk/>
          <pc:sldMk cId="119098940" sldId="2146847209"/>
        </pc:sldMkLst>
      </pc:sldChg>
      <pc:sldChg chg="addSp delSp modSp add del mod ord delAnim">
        <pc:chgData name="Siddhartha Paul" userId="0f6d2a28-7c6e-4106-a327-1058fe8b7c05" providerId="ADAL" clId="{C15EC1BA-EE25-4672-92A2-9249CEBF869C}" dt="2024-02-21T08:14:47.781" v="9402" actId="47"/>
        <pc:sldMkLst>
          <pc:docMk/>
          <pc:sldMk cId="3182455428" sldId="2146847209"/>
        </pc:sldMkLst>
        <pc:spChg chg="del">
          <ac:chgData name="Siddhartha Paul" userId="0f6d2a28-7c6e-4106-a327-1058fe8b7c05" providerId="ADAL" clId="{C15EC1BA-EE25-4672-92A2-9249CEBF869C}" dt="2024-02-20T19:04:29.021" v="2311" actId="478"/>
          <ac:spMkLst>
            <pc:docMk/>
            <pc:sldMk cId="3182455428" sldId="2146847209"/>
            <ac:spMk id="3" creationId="{4C4123E2-6688-3177-7F67-EC77BEFE0F27}"/>
          </ac:spMkLst>
        </pc:spChg>
        <pc:spChg chg="mod topLvl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4" creationId="{49AA3AD0-7AF1-769A-409A-05E343443EB9}"/>
          </ac:spMkLst>
        </pc:spChg>
        <pc:spChg chg="del">
          <ac:chgData name="Siddhartha Paul" userId="0f6d2a28-7c6e-4106-a327-1058fe8b7c05" providerId="ADAL" clId="{C15EC1BA-EE25-4672-92A2-9249CEBF869C}" dt="2024-02-20T19:04:29.021" v="2311" actId="478"/>
          <ac:spMkLst>
            <pc:docMk/>
            <pc:sldMk cId="3182455428" sldId="2146847209"/>
            <ac:spMk id="5" creationId="{1C337CAB-7AB9-9112-6D24-07E5E1038366}"/>
          </ac:spMkLst>
        </pc:spChg>
        <pc:spChg chg="mod">
          <ac:chgData name="Siddhartha Paul" userId="0f6d2a28-7c6e-4106-a327-1058fe8b7c05" providerId="ADAL" clId="{C15EC1BA-EE25-4672-92A2-9249CEBF869C}" dt="2024-02-20T19:04:20.191" v="2308"/>
          <ac:spMkLst>
            <pc:docMk/>
            <pc:sldMk cId="3182455428" sldId="2146847209"/>
            <ac:spMk id="7" creationId="{238D0DE0-522F-29B0-8202-964439F707B1}"/>
          </ac:spMkLst>
        </pc:spChg>
        <pc:spChg chg="del">
          <ac:chgData name="Siddhartha Paul" userId="0f6d2a28-7c6e-4106-a327-1058fe8b7c05" providerId="ADAL" clId="{C15EC1BA-EE25-4672-92A2-9249CEBF869C}" dt="2024-02-20T19:04:22.670" v="2309" actId="478"/>
          <ac:spMkLst>
            <pc:docMk/>
            <pc:sldMk cId="3182455428" sldId="2146847209"/>
            <ac:spMk id="12" creationId="{81AF1D09-5C53-5618-D3EE-4BA63337A2D7}"/>
          </ac:spMkLst>
        </pc:spChg>
        <pc:spChg chg="mod topLvl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4" creationId="{355F3FA5-FDAC-7B36-B238-9F1998D5370B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7" creationId="{B424C759-C686-89FA-18DE-333BA48D4125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8" creationId="{88F841D0-8C4E-38B2-E5A2-75936B872B93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9" creationId="{BB00FBED-1497-25C5-B234-80D4C9BBB767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050" creationId="{DB094FC7-0EE8-0F7B-BB6E-9CBA2410B294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47" creationId="{4DFDC0F9-A39D-A58D-13DE-671B03849304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48" creationId="{0389AA12-A91C-CC6F-CCE5-83EE2C1B450D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49" creationId="{7B3A184A-7D85-0794-F130-2F402DE42D37}"/>
          </ac:spMkLst>
        </pc:spChg>
        <pc:spChg chg="del">
          <ac:chgData name="Siddhartha Paul" userId="0f6d2a28-7c6e-4106-a327-1058fe8b7c05" providerId="ADAL" clId="{C15EC1BA-EE25-4672-92A2-9249CEBF869C}" dt="2024-02-20T19:04:29.021" v="2311" actId="478"/>
          <ac:spMkLst>
            <pc:docMk/>
            <pc:sldMk cId="3182455428" sldId="2146847209"/>
            <ac:spMk id="2151" creationId="{0C0D5D41-26A0-4C46-F04B-21E280AF51AB}"/>
          </ac:spMkLst>
        </pc:spChg>
        <pc:spChg chg="del">
          <ac:chgData name="Siddhartha Paul" userId="0f6d2a28-7c6e-4106-a327-1058fe8b7c05" providerId="ADAL" clId="{C15EC1BA-EE25-4672-92A2-9249CEBF869C}" dt="2024-02-20T19:04:29.021" v="2311" actId="478"/>
          <ac:spMkLst>
            <pc:docMk/>
            <pc:sldMk cId="3182455428" sldId="2146847209"/>
            <ac:spMk id="2152" creationId="{AD3F0538-B6CC-4D11-CF3D-23224D010476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53" creationId="{A4D7CB59-3C4B-B639-5905-74025F029668}"/>
          </ac:spMkLst>
        </pc:spChg>
        <pc:spChg chg="del">
          <ac:chgData name="Siddhartha Paul" userId="0f6d2a28-7c6e-4106-a327-1058fe8b7c05" providerId="ADAL" clId="{C15EC1BA-EE25-4672-92A2-9249CEBF869C}" dt="2024-02-20T19:04:29.021" v="2311" actId="478"/>
          <ac:spMkLst>
            <pc:docMk/>
            <pc:sldMk cId="3182455428" sldId="2146847209"/>
            <ac:spMk id="2154" creationId="{5E798D27-111A-753C-69FF-C2D7A8C7E44A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55" creationId="{1BA878A5-37FF-645A-9C43-A5EB96569DE7}"/>
          </ac:spMkLst>
        </pc:spChg>
        <pc:spChg chg="del">
          <ac:chgData name="Siddhartha Paul" userId="0f6d2a28-7c6e-4106-a327-1058fe8b7c05" providerId="ADAL" clId="{C15EC1BA-EE25-4672-92A2-9249CEBF869C}" dt="2024-02-20T19:04:29.021" v="2311" actId="478"/>
          <ac:spMkLst>
            <pc:docMk/>
            <pc:sldMk cId="3182455428" sldId="2146847209"/>
            <ac:spMk id="2156" creationId="{5B98EADD-FA07-2AE5-59C9-B7645DB40A52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57" creationId="{C08995EE-D6CE-89F8-FB59-FEA2CD0A81DF}"/>
          </ac:spMkLst>
        </pc:spChg>
        <pc:spChg chg="del">
          <ac:chgData name="Siddhartha Paul" userId="0f6d2a28-7c6e-4106-a327-1058fe8b7c05" providerId="ADAL" clId="{C15EC1BA-EE25-4672-92A2-9249CEBF869C}" dt="2024-02-20T19:04:29.021" v="2311" actId="478"/>
          <ac:spMkLst>
            <pc:docMk/>
            <pc:sldMk cId="3182455428" sldId="2146847209"/>
            <ac:spMk id="2158" creationId="{C98FD8BC-EBFB-5900-EB85-0C4C118C96F5}"/>
          </ac:spMkLst>
        </pc:spChg>
        <pc:spChg chg="del">
          <ac:chgData name="Siddhartha Paul" userId="0f6d2a28-7c6e-4106-a327-1058fe8b7c05" providerId="ADAL" clId="{C15EC1BA-EE25-4672-92A2-9249CEBF869C}" dt="2024-02-20T19:04:29.021" v="2311" actId="478"/>
          <ac:spMkLst>
            <pc:docMk/>
            <pc:sldMk cId="3182455428" sldId="2146847209"/>
            <ac:spMk id="2159" creationId="{794B5CD0-D50D-FFE0-052F-850904BC9AEE}"/>
          </ac:spMkLst>
        </pc:spChg>
        <pc:spChg chg="del">
          <ac:chgData name="Siddhartha Paul" userId="0f6d2a28-7c6e-4106-a327-1058fe8b7c05" providerId="ADAL" clId="{C15EC1BA-EE25-4672-92A2-9249CEBF869C}" dt="2024-02-20T19:04:29.021" v="2311" actId="478"/>
          <ac:spMkLst>
            <pc:docMk/>
            <pc:sldMk cId="3182455428" sldId="2146847209"/>
            <ac:spMk id="2160" creationId="{36C81556-AAFB-4AFF-66E0-FDFE747464D4}"/>
          </ac:spMkLst>
        </pc:spChg>
        <pc:spChg chg="del">
          <ac:chgData name="Siddhartha Paul" userId="0f6d2a28-7c6e-4106-a327-1058fe8b7c05" providerId="ADAL" clId="{C15EC1BA-EE25-4672-92A2-9249CEBF869C}" dt="2024-02-20T19:04:29.021" v="2311" actId="478"/>
          <ac:spMkLst>
            <pc:docMk/>
            <pc:sldMk cId="3182455428" sldId="2146847209"/>
            <ac:spMk id="2161" creationId="{28341C35-7BEE-D78C-2CAC-A4CF2B07C36B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62" creationId="{69D5A3FA-48E0-7690-E0DA-5F773ECA1DF4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63" creationId="{FBF9895A-0824-EA06-C0F5-578A40E361C4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64" creationId="{589B8A7E-9FDF-5675-4C59-E2951D092008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65" creationId="{C87D9599-A9A4-A062-3813-882BBB1DB722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66" creationId="{22DE88B3-58D1-42CD-6E57-25696B24F1B6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67" creationId="{1865632C-5638-FA7F-D281-43F992995F5D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68" creationId="{50A4853F-8A99-B386-E4D3-07233A4518F1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69" creationId="{7B762CD1-4014-CC47-18A0-AD222B157235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70" creationId="{7AFDDAF0-943B-AB1C-B7D4-2BCB3557C7AF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71" creationId="{FEE85A3D-986C-3564-9BE1-C080F0B20BE3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86" creationId="{9F8AF2B0-DB48-CA87-A922-CD0300B389DF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87" creationId="{A7FC4C2D-DB04-F6CC-7910-3A50E2C0FFC1}"/>
          </ac:spMkLst>
        </pc:spChg>
        <pc:spChg chg="mod">
          <ac:chgData name="Siddhartha Paul" userId="0f6d2a28-7c6e-4106-a327-1058fe8b7c05" providerId="ADAL" clId="{C15EC1BA-EE25-4672-92A2-9249CEBF869C}" dt="2024-02-20T20:48:13.387" v="5099" actId="165"/>
          <ac:spMkLst>
            <pc:docMk/>
            <pc:sldMk cId="3182455428" sldId="2146847209"/>
            <ac:spMk id="2188" creationId="{5C814175-6995-0EDC-B612-2AA323CEBFA9}"/>
          </ac:spMkLst>
        </pc:spChg>
        <pc:grpChg chg="add del mod">
          <ac:chgData name="Siddhartha Paul" userId="0f6d2a28-7c6e-4106-a327-1058fe8b7c05" providerId="ADAL" clId="{C15EC1BA-EE25-4672-92A2-9249CEBF869C}" dt="2024-02-20T20:48:13.387" v="5099" actId="165"/>
          <ac:grpSpMkLst>
            <pc:docMk/>
            <pc:sldMk cId="3182455428" sldId="2146847209"/>
            <ac:grpSpMk id="2" creationId="{18C40175-3DC4-7D1F-A154-6024C377D34A}"/>
          </ac:grpSpMkLst>
        </pc:grpChg>
        <pc:grpChg chg="del">
          <ac:chgData name="Siddhartha Paul" userId="0f6d2a28-7c6e-4106-a327-1058fe8b7c05" providerId="ADAL" clId="{C15EC1BA-EE25-4672-92A2-9249CEBF869C}" dt="2024-02-20T19:04:29.021" v="2311" actId="478"/>
          <ac:grpSpMkLst>
            <pc:docMk/>
            <pc:sldMk cId="3182455428" sldId="2146847209"/>
            <ac:grpSpMk id="6" creationId="{2D7350F7-78BE-EB48-9D80-A79F0D05FCE3}"/>
          </ac:grpSpMkLst>
        </pc:grpChg>
        <pc:grpChg chg="mod topLvl">
          <ac:chgData name="Siddhartha Paul" userId="0f6d2a28-7c6e-4106-a327-1058fe8b7c05" providerId="ADAL" clId="{C15EC1BA-EE25-4672-92A2-9249CEBF869C}" dt="2024-02-20T20:48:23.142" v="5101" actId="14100"/>
          <ac:grpSpMkLst>
            <pc:docMk/>
            <pc:sldMk cId="3182455428" sldId="2146847209"/>
            <ac:grpSpMk id="26" creationId="{67586049-52A3-ED21-5298-B4624B9CBAA5}"/>
          </ac:grpSpMkLst>
        </pc:grpChg>
        <pc:grpChg chg="del">
          <ac:chgData name="Siddhartha Paul" userId="0f6d2a28-7c6e-4106-a327-1058fe8b7c05" providerId="ADAL" clId="{C15EC1BA-EE25-4672-92A2-9249CEBF869C}" dt="2024-02-20T19:04:29.021" v="2311" actId="478"/>
          <ac:grpSpMkLst>
            <pc:docMk/>
            <pc:sldMk cId="3182455428" sldId="2146847209"/>
            <ac:grpSpMk id="2048" creationId="{BEFD7326-623B-2BD6-CA20-74B593D502C8}"/>
          </ac:grpSpMkLst>
        </pc:grpChg>
        <pc:grpChg chg="del">
          <ac:chgData name="Siddhartha Paul" userId="0f6d2a28-7c6e-4106-a327-1058fe8b7c05" providerId="ADAL" clId="{C15EC1BA-EE25-4672-92A2-9249CEBF869C}" dt="2024-02-20T19:04:29.021" v="2311" actId="478"/>
          <ac:grpSpMkLst>
            <pc:docMk/>
            <pc:sldMk cId="3182455428" sldId="2146847209"/>
            <ac:grpSpMk id="2098" creationId="{D260B70C-6D58-491F-DB79-83B3C9AB8655}"/>
          </ac:grpSpMkLst>
        </pc:grpChg>
        <pc:grpChg chg="mod">
          <ac:chgData name="Siddhartha Paul" userId="0f6d2a28-7c6e-4106-a327-1058fe8b7c05" providerId="ADAL" clId="{C15EC1BA-EE25-4672-92A2-9249CEBF869C}" dt="2024-02-20T20:48:13.387" v="5099" actId="165"/>
          <ac:grpSpMkLst>
            <pc:docMk/>
            <pc:sldMk cId="3182455428" sldId="2146847209"/>
            <ac:grpSpMk id="2150" creationId="{7C480261-814F-FBFA-44BF-7F3B430AEFC0}"/>
          </ac:grpSpMkLst>
        </pc:grpChg>
        <pc:grpChg chg="del">
          <ac:chgData name="Siddhartha Paul" userId="0f6d2a28-7c6e-4106-a327-1058fe8b7c05" providerId="ADAL" clId="{C15EC1BA-EE25-4672-92A2-9249CEBF869C}" dt="2024-02-20T19:04:29.021" v="2311" actId="478"/>
          <ac:grpSpMkLst>
            <pc:docMk/>
            <pc:sldMk cId="3182455428" sldId="2146847209"/>
            <ac:grpSpMk id="2172" creationId="{15F1F768-E30C-7EBC-A27A-2C2395492070}"/>
          </ac:grpSpMkLst>
        </pc:grpChg>
      </pc:sldChg>
      <pc:sldChg chg="addSp delSp modSp add del mod ord delAnim modAnim">
        <pc:chgData name="Siddhartha Paul" userId="0f6d2a28-7c6e-4106-a327-1058fe8b7c05" providerId="ADAL" clId="{C15EC1BA-EE25-4672-92A2-9249CEBF869C}" dt="2024-02-22T04:31:12.857" v="10282"/>
        <pc:sldMkLst>
          <pc:docMk/>
          <pc:sldMk cId="3774946950" sldId="2146847210"/>
        </pc:sldMkLst>
        <pc:spChg chg="del">
          <ac:chgData name="Siddhartha Paul" userId="0f6d2a28-7c6e-4106-a327-1058fe8b7c05" providerId="ADAL" clId="{C15EC1BA-EE25-4672-92A2-9249CEBF869C}" dt="2024-02-20T19:09:46.868" v="2316" actId="478"/>
          <ac:spMkLst>
            <pc:docMk/>
            <pc:sldMk cId="3774946950" sldId="2146847210"/>
            <ac:spMk id="3" creationId="{4C4123E2-6688-3177-7F67-EC77BEFE0F27}"/>
          </ac:spMkLst>
        </pc:spChg>
        <pc:spChg chg="del">
          <ac:chgData name="Siddhartha Paul" userId="0f6d2a28-7c6e-4106-a327-1058fe8b7c05" providerId="ADAL" clId="{C15EC1BA-EE25-4672-92A2-9249CEBF869C}" dt="2024-02-20T19:09:46.868" v="2316" actId="478"/>
          <ac:spMkLst>
            <pc:docMk/>
            <pc:sldMk cId="3774946950" sldId="2146847210"/>
            <ac:spMk id="5" creationId="{1C337CAB-7AB9-9112-6D24-07E5E1038366}"/>
          </ac:spMkLst>
        </pc:spChg>
        <pc:spChg chg="mod">
          <ac:chgData name="Siddhartha Paul" userId="0f6d2a28-7c6e-4106-a327-1058fe8b7c05" providerId="ADAL" clId="{C15EC1BA-EE25-4672-92A2-9249CEBF869C}" dt="2024-02-20T19:10:03.982" v="2334" actId="108"/>
          <ac:spMkLst>
            <pc:docMk/>
            <pc:sldMk cId="3774946950" sldId="2146847210"/>
            <ac:spMk id="7" creationId="{238D0DE0-522F-29B0-8202-964439F707B1}"/>
          </ac:spMkLst>
        </pc:spChg>
        <pc:spChg chg="del">
          <ac:chgData name="Siddhartha Paul" userId="0f6d2a28-7c6e-4106-a327-1058fe8b7c05" providerId="ADAL" clId="{C15EC1BA-EE25-4672-92A2-9249CEBF869C}" dt="2024-02-20T19:10:07.856" v="2335" actId="478"/>
          <ac:spMkLst>
            <pc:docMk/>
            <pc:sldMk cId="3774946950" sldId="2146847210"/>
            <ac:spMk id="12" creationId="{81AF1D09-5C53-5618-D3EE-4BA63337A2D7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7" creationId="{7040DA21-DBBB-3877-CD1D-45791F640ED1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48" creationId="{7DD132E6-5650-EB09-8440-78DBC6F87221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49" creationId="{D6B9E1B5-4C57-78BF-807A-C3F24C283BB4}"/>
          </ac:spMkLst>
        </pc:spChg>
        <pc:spChg chg="del">
          <ac:chgData name="Siddhartha Paul" userId="0f6d2a28-7c6e-4106-a327-1058fe8b7c05" providerId="ADAL" clId="{C15EC1BA-EE25-4672-92A2-9249CEBF869C}" dt="2024-02-20T19:09:46.868" v="2316" actId="478"/>
          <ac:spMkLst>
            <pc:docMk/>
            <pc:sldMk cId="3774946950" sldId="2146847210"/>
            <ac:spMk id="2151" creationId="{0C0D5D41-26A0-4C46-F04B-21E280AF51AB}"/>
          </ac:spMkLst>
        </pc:spChg>
        <pc:spChg chg="del">
          <ac:chgData name="Siddhartha Paul" userId="0f6d2a28-7c6e-4106-a327-1058fe8b7c05" providerId="ADAL" clId="{C15EC1BA-EE25-4672-92A2-9249CEBF869C}" dt="2024-02-20T19:09:46.868" v="2316" actId="478"/>
          <ac:spMkLst>
            <pc:docMk/>
            <pc:sldMk cId="3774946950" sldId="2146847210"/>
            <ac:spMk id="2152" creationId="{AD3F0538-B6CC-4D11-CF3D-23224D010476}"/>
          </ac:spMkLst>
        </pc:spChg>
        <pc:spChg chg="del">
          <ac:chgData name="Siddhartha Paul" userId="0f6d2a28-7c6e-4106-a327-1058fe8b7c05" providerId="ADAL" clId="{C15EC1BA-EE25-4672-92A2-9249CEBF869C}" dt="2024-02-20T19:09:46.868" v="2316" actId="478"/>
          <ac:spMkLst>
            <pc:docMk/>
            <pc:sldMk cId="3774946950" sldId="2146847210"/>
            <ac:spMk id="2154" creationId="{5E798D27-111A-753C-69FF-C2D7A8C7E44A}"/>
          </ac:spMkLst>
        </pc:spChg>
        <pc:spChg chg="del">
          <ac:chgData name="Siddhartha Paul" userId="0f6d2a28-7c6e-4106-a327-1058fe8b7c05" providerId="ADAL" clId="{C15EC1BA-EE25-4672-92A2-9249CEBF869C}" dt="2024-02-20T19:09:46.868" v="2316" actId="478"/>
          <ac:spMkLst>
            <pc:docMk/>
            <pc:sldMk cId="3774946950" sldId="2146847210"/>
            <ac:spMk id="2156" creationId="{5B98EADD-FA07-2AE5-59C9-B7645DB40A52}"/>
          </ac:spMkLst>
        </pc:spChg>
        <pc:spChg chg="del">
          <ac:chgData name="Siddhartha Paul" userId="0f6d2a28-7c6e-4106-a327-1058fe8b7c05" providerId="ADAL" clId="{C15EC1BA-EE25-4672-92A2-9249CEBF869C}" dt="2024-02-20T19:09:46.868" v="2316" actId="478"/>
          <ac:spMkLst>
            <pc:docMk/>
            <pc:sldMk cId="3774946950" sldId="2146847210"/>
            <ac:spMk id="2158" creationId="{C98FD8BC-EBFB-5900-EB85-0C4C118C96F5}"/>
          </ac:spMkLst>
        </pc:spChg>
        <pc:spChg chg="del">
          <ac:chgData name="Siddhartha Paul" userId="0f6d2a28-7c6e-4106-a327-1058fe8b7c05" providerId="ADAL" clId="{C15EC1BA-EE25-4672-92A2-9249CEBF869C}" dt="2024-02-20T19:09:46.868" v="2316" actId="478"/>
          <ac:spMkLst>
            <pc:docMk/>
            <pc:sldMk cId="3774946950" sldId="2146847210"/>
            <ac:spMk id="2159" creationId="{794B5CD0-D50D-FFE0-052F-850904BC9AEE}"/>
          </ac:spMkLst>
        </pc:spChg>
        <pc:spChg chg="del">
          <ac:chgData name="Siddhartha Paul" userId="0f6d2a28-7c6e-4106-a327-1058fe8b7c05" providerId="ADAL" clId="{C15EC1BA-EE25-4672-92A2-9249CEBF869C}" dt="2024-02-20T19:09:46.868" v="2316" actId="478"/>
          <ac:spMkLst>
            <pc:docMk/>
            <pc:sldMk cId="3774946950" sldId="2146847210"/>
            <ac:spMk id="2160" creationId="{36C81556-AAFB-4AFF-66E0-FDFE747464D4}"/>
          </ac:spMkLst>
        </pc:spChg>
        <pc:spChg chg="del">
          <ac:chgData name="Siddhartha Paul" userId="0f6d2a28-7c6e-4106-a327-1058fe8b7c05" providerId="ADAL" clId="{C15EC1BA-EE25-4672-92A2-9249CEBF869C}" dt="2024-02-20T19:09:46.868" v="2316" actId="478"/>
          <ac:spMkLst>
            <pc:docMk/>
            <pc:sldMk cId="3774946950" sldId="2146847210"/>
            <ac:spMk id="2161" creationId="{28341C35-7BEE-D78C-2CAC-A4CF2B07C36B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62" creationId="{EEDEA3D2-4CFA-9491-30FE-E4F6D756F7E6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63" creationId="{54BAF08F-484B-889F-26E3-6883A8A28470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64" creationId="{7C3DE457-C24A-7C2E-50AD-BFF62CE0CA82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65" creationId="{E1FFDC21-9019-81F7-7C55-B3C6EC605683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66" creationId="{CFA43C95-C912-18FD-B681-09174F9C28E4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67" creationId="{C7E9018B-A25D-310E-D9AA-FA74A8C9EE12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68" creationId="{D70C6B2F-AB92-60EF-1C37-B425CC9229E5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69" creationId="{7CA36D1F-D879-8B42-360A-434CD2B3FC21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88" creationId="{E95A38F9-9DFE-A91F-6D1C-6EF5024DB198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89" creationId="{8A9532AF-9D46-02F8-64B9-8135EFFEB800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91" creationId="{D82786CE-3CB5-0A39-DEDB-D4A3DA39099B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92" creationId="{0C56663D-D38B-AE93-F4BE-EE16615A2CB5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94" creationId="{FB1EAEFF-CDF1-53A0-0056-979384C04156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95" creationId="{0C53A3DD-7E23-9676-FDB4-98B582922BCC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97" creationId="{9249B633-DAEA-232C-BC19-35DF1BAA6E0F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98" creationId="{3B2A0C93-4604-C6CD-78A9-90A33F25104D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199" creationId="{E3C121CA-14AF-63BC-6BD5-FF1FB5BFD176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00" creationId="{27F9611E-0B63-EA2C-3FEB-3F74483DA6C9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01" creationId="{1B4BD957-5610-93E1-70E2-94052F8EB6B8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03" creationId="{507C8C44-825E-37D9-B91F-C7E578CD2FA4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04" creationId="{17B923DA-AF1E-11A6-9B80-C8AF4C098996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05" creationId="{AAEC160C-0968-D90C-98F4-3790E5CC4D0D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06" creationId="{3B70A684-22F2-5AD6-3357-6E5A462FB655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07" creationId="{2B410D02-2F9D-8B35-9DA0-05711EFBF948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08" creationId="{9F6AEE68-6732-C936-6FB6-6A3B62BC71FA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09" creationId="{218FEC78-8469-69B8-FF8E-686365534D9F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10" creationId="{E54A3245-BCCA-6347-3B5D-4DA66E2B3530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11" creationId="{C69DA99A-F8A8-7D37-23F2-0CDCA524E962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12" creationId="{D7847DB2-B11D-58E6-06C5-73FDC0E85563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13" creationId="{848D273E-7F9B-09B9-EF27-2CD3111AE289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14" creationId="{4B614392-389F-C272-2134-30504E6E0E48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15" creationId="{9D383D1C-FF97-1297-7F9F-94E723914BB7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16" creationId="{EC23E304-74FD-109D-A1E9-94A48751266A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17" creationId="{2122CD94-1D4E-E9F9-B44B-1E7D67E96379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18" creationId="{3AA76267-B422-F1D5-FAF1-1F2EA517AAB8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19" creationId="{0D7F09E2-DC91-3A7C-7758-99054D3DCAFF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20" creationId="{FD0CA250-D3D2-2A75-0D77-E693784F734F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21" creationId="{5713A000-24C4-58C5-35E7-E24BBC35C371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22" creationId="{C3A92470-6383-3F7A-F005-25ABB8D17FBF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23" creationId="{7A0BFE09-03BF-A122-61C3-57017901A936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24" creationId="{21531C07-01D9-FBB5-ADDD-C9E368E70FC0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25" creationId="{A83D0E7D-BAEF-D547-4EB7-9EAD92591D49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26" creationId="{D39009C9-8536-B13B-588A-28A6A78B1137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27" creationId="{EA70337B-885D-8D4C-6623-28037C4D2112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28" creationId="{F226DC40-14C6-4B31-5B01-CB54DF560935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29" creationId="{953963D3-3254-8819-84AB-8283912CE86E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30" creationId="{00FEE49E-21F0-CD17-0DBB-D2607CED6BB5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35" creationId="{7B056FEC-B517-F0AB-8FE3-F6C2CE5FC2DA}"/>
          </ac:spMkLst>
        </pc:spChg>
        <pc:spChg chg="add del mod">
          <ac:chgData name="Siddhartha Paul" userId="0f6d2a28-7c6e-4106-a327-1058fe8b7c05" providerId="ADAL" clId="{C15EC1BA-EE25-4672-92A2-9249CEBF869C}" dt="2024-02-20T19:10:43.620" v="2339" actId="478"/>
          <ac:spMkLst>
            <pc:docMk/>
            <pc:sldMk cId="3774946950" sldId="2146847210"/>
            <ac:spMk id="2237" creationId="{C1C6B042-2458-7F2B-11DE-FFB9287FC436}"/>
          </ac:spMkLst>
        </pc:spChg>
        <pc:spChg chg="add del mod">
          <ac:chgData name="Siddhartha Paul" userId="0f6d2a28-7c6e-4106-a327-1058fe8b7c05" providerId="ADAL" clId="{C15EC1BA-EE25-4672-92A2-9249CEBF869C}" dt="2024-02-20T19:16:52.133" v="2582" actId="478"/>
          <ac:spMkLst>
            <pc:docMk/>
            <pc:sldMk cId="3774946950" sldId="2146847210"/>
            <ac:spMk id="2242" creationId="{08C24981-2E96-E56E-08B3-6B2CA180C0CE}"/>
          </ac:spMkLst>
        </pc:spChg>
        <pc:spChg chg="add mod">
          <ac:chgData name="Siddhartha Paul" userId="0f6d2a28-7c6e-4106-a327-1058fe8b7c05" providerId="ADAL" clId="{C15EC1BA-EE25-4672-92A2-9249CEBF869C}" dt="2024-02-20T19:26:31.407" v="2777" actId="1076"/>
          <ac:spMkLst>
            <pc:docMk/>
            <pc:sldMk cId="3774946950" sldId="2146847210"/>
            <ac:spMk id="2247" creationId="{98C80F58-DF00-7BD4-25DA-9545ECA01E08}"/>
          </ac:spMkLst>
        </pc:spChg>
        <pc:spChg chg="add del mod">
          <ac:chgData name="Siddhartha Paul" userId="0f6d2a28-7c6e-4106-a327-1058fe8b7c05" providerId="ADAL" clId="{C15EC1BA-EE25-4672-92A2-9249CEBF869C}" dt="2024-02-20T19:12:33.517" v="2407" actId="478"/>
          <ac:spMkLst>
            <pc:docMk/>
            <pc:sldMk cId="3774946950" sldId="2146847210"/>
            <ac:spMk id="2252" creationId="{FFCC6896-041D-5D7D-AAC1-852556818B75}"/>
          </ac:spMkLst>
        </pc:spChg>
        <pc:spChg chg="add mod">
          <ac:chgData name="Siddhartha Paul" userId="0f6d2a28-7c6e-4106-a327-1058fe8b7c05" providerId="ADAL" clId="{C15EC1BA-EE25-4672-92A2-9249CEBF869C}" dt="2024-02-20T19:26:31.407" v="2777" actId="1076"/>
          <ac:spMkLst>
            <pc:docMk/>
            <pc:sldMk cId="3774946950" sldId="2146847210"/>
            <ac:spMk id="2257" creationId="{5C555793-85A7-D19F-5302-D8CC68A42E2E}"/>
          </ac:spMkLst>
        </pc:spChg>
        <pc:spChg chg="add mod">
          <ac:chgData name="Siddhartha Paul" userId="0f6d2a28-7c6e-4106-a327-1058fe8b7c05" providerId="ADAL" clId="{C15EC1BA-EE25-4672-92A2-9249CEBF869C}" dt="2024-02-20T19:26:31.407" v="2777" actId="1076"/>
          <ac:spMkLst>
            <pc:docMk/>
            <pc:sldMk cId="3774946950" sldId="2146847210"/>
            <ac:spMk id="2264" creationId="{C91948AC-29A4-7FF2-3A35-CD8BE1E3B870}"/>
          </ac:spMkLst>
        </pc:spChg>
        <pc:spChg chg="add del mod">
          <ac:chgData name="Siddhartha Paul" userId="0f6d2a28-7c6e-4106-a327-1058fe8b7c05" providerId="ADAL" clId="{C15EC1BA-EE25-4672-92A2-9249CEBF869C}" dt="2024-02-20T19:20:52.654" v="2656" actId="478"/>
          <ac:spMkLst>
            <pc:docMk/>
            <pc:sldMk cId="3774946950" sldId="2146847210"/>
            <ac:spMk id="2266" creationId="{4CFC64CA-7F9F-FD87-D477-ADDF121F4A1B}"/>
          </ac:spMkLst>
        </pc:spChg>
        <pc:spChg chg="add del mod">
          <ac:chgData name="Siddhartha Paul" userId="0f6d2a28-7c6e-4106-a327-1058fe8b7c05" providerId="ADAL" clId="{C15EC1BA-EE25-4672-92A2-9249CEBF869C}" dt="2024-02-20T19:20:52.654" v="2656" actId="478"/>
          <ac:spMkLst>
            <pc:docMk/>
            <pc:sldMk cId="3774946950" sldId="2146847210"/>
            <ac:spMk id="2267" creationId="{3516F79D-42DF-A98F-8C98-460913885015}"/>
          </ac:spMkLst>
        </pc:spChg>
        <pc:spChg chg="add del mod">
          <ac:chgData name="Siddhartha Paul" userId="0f6d2a28-7c6e-4106-a327-1058fe8b7c05" providerId="ADAL" clId="{C15EC1BA-EE25-4672-92A2-9249CEBF869C}" dt="2024-02-20T19:20:52.654" v="2656" actId="478"/>
          <ac:spMkLst>
            <pc:docMk/>
            <pc:sldMk cId="3774946950" sldId="2146847210"/>
            <ac:spMk id="2268" creationId="{6FCE6636-EC73-0110-7739-81CF87B54BFA}"/>
          </ac:spMkLst>
        </pc:spChg>
        <pc:spChg chg="add mod">
          <ac:chgData name="Siddhartha Paul" userId="0f6d2a28-7c6e-4106-a327-1058fe8b7c05" providerId="ADAL" clId="{C15EC1BA-EE25-4672-92A2-9249CEBF869C}" dt="2024-02-20T19:26:31.407" v="2777" actId="1076"/>
          <ac:spMkLst>
            <pc:docMk/>
            <pc:sldMk cId="3774946950" sldId="2146847210"/>
            <ac:spMk id="2269" creationId="{30D502F3-71F6-F988-B5BB-632436F413AE}"/>
          </ac:spMkLst>
        </pc:spChg>
        <pc:spChg chg="add mod">
          <ac:chgData name="Siddhartha Paul" userId="0f6d2a28-7c6e-4106-a327-1058fe8b7c05" providerId="ADAL" clId="{C15EC1BA-EE25-4672-92A2-9249CEBF869C}" dt="2024-02-20T19:26:31.407" v="2777" actId="1076"/>
          <ac:spMkLst>
            <pc:docMk/>
            <pc:sldMk cId="3774946950" sldId="2146847210"/>
            <ac:spMk id="2270" creationId="{350EFC01-5E8B-DFB0-06A2-385E54E2C537}"/>
          </ac:spMkLst>
        </pc:spChg>
        <pc:spChg chg="add mod topLvl">
          <ac:chgData name="Siddhartha Paul" userId="0f6d2a28-7c6e-4106-a327-1058fe8b7c05" providerId="ADAL" clId="{C15EC1BA-EE25-4672-92A2-9249CEBF869C}" dt="2024-02-20T19:22:57.923" v="2691" actId="164"/>
          <ac:spMkLst>
            <pc:docMk/>
            <pc:sldMk cId="3774946950" sldId="2146847210"/>
            <ac:spMk id="2271" creationId="{A08FA5B9-C6FF-E441-50EE-DAF70B6E5D53}"/>
          </ac:spMkLst>
        </pc:spChg>
        <pc:spChg chg="add mod topLvl">
          <ac:chgData name="Siddhartha Paul" userId="0f6d2a28-7c6e-4106-a327-1058fe8b7c05" providerId="ADAL" clId="{C15EC1BA-EE25-4672-92A2-9249CEBF869C}" dt="2024-02-20T19:22:57.923" v="2691" actId="164"/>
          <ac:spMkLst>
            <pc:docMk/>
            <pc:sldMk cId="3774946950" sldId="2146847210"/>
            <ac:spMk id="2272" creationId="{380A892E-4632-F2AC-FA29-7BFC282083B3}"/>
          </ac:spMkLst>
        </pc:spChg>
        <pc:spChg chg="add mod topLvl">
          <ac:chgData name="Siddhartha Paul" userId="0f6d2a28-7c6e-4106-a327-1058fe8b7c05" providerId="ADAL" clId="{C15EC1BA-EE25-4672-92A2-9249CEBF869C}" dt="2024-02-20T19:22:57.923" v="2691" actId="164"/>
          <ac:spMkLst>
            <pc:docMk/>
            <pc:sldMk cId="3774946950" sldId="2146847210"/>
            <ac:spMk id="2273" creationId="{7355E667-1495-43BC-1359-FC08351462CA}"/>
          </ac:spMkLst>
        </pc:spChg>
        <pc:spChg chg="add mod">
          <ac:chgData name="Siddhartha Paul" userId="0f6d2a28-7c6e-4106-a327-1058fe8b7c05" providerId="ADAL" clId="{C15EC1BA-EE25-4672-92A2-9249CEBF869C}" dt="2024-02-20T19:20:02.220" v="2648" actId="164"/>
          <ac:spMkLst>
            <pc:docMk/>
            <pc:sldMk cId="3774946950" sldId="2146847210"/>
            <ac:spMk id="2274" creationId="{6D467E0F-524B-03D2-A09B-2947D7867D44}"/>
          </ac:spMkLst>
        </pc:spChg>
        <pc:spChg chg="add mod">
          <ac:chgData name="Siddhartha Paul" userId="0f6d2a28-7c6e-4106-a327-1058fe8b7c05" providerId="ADAL" clId="{C15EC1BA-EE25-4672-92A2-9249CEBF869C}" dt="2024-02-20T19:20:02.220" v="2648" actId="164"/>
          <ac:spMkLst>
            <pc:docMk/>
            <pc:sldMk cId="3774946950" sldId="2146847210"/>
            <ac:spMk id="2275" creationId="{D6116C6D-B0CD-0AE8-C134-CE9AF6AC7663}"/>
          </ac:spMkLst>
        </pc:spChg>
        <pc:spChg chg="add mod">
          <ac:chgData name="Siddhartha Paul" userId="0f6d2a28-7c6e-4106-a327-1058fe8b7c05" providerId="ADAL" clId="{C15EC1BA-EE25-4672-92A2-9249CEBF869C}" dt="2024-02-20T19:20:02.220" v="2648" actId="164"/>
          <ac:spMkLst>
            <pc:docMk/>
            <pc:sldMk cId="3774946950" sldId="2146847210"/>
            <ac:spMk id="2276" creationId="{D55EBE44-524F-5C88-53B2-DA1D052ABE75}"/>
          </ac:spMkLst>
        </pc:spChg>
        <pc:spChg chg="add mod">
          <ac:chgData name="Siddhartha Paul" userId="0f6d2a28-7c6e-4106-a327-1058fe8b7c05" providerId="ADAL" clId="{C15EC1BA-EE25-4672-92A2-9249CEBF869C}" dt="2024-02-20T19:19:53.795" v="2646" actId="164"/>
          <ac:spMkLst>
            <pc:docMk/>
            <pc:sldMk cId="3774946950" sldId="2146847210"/>
            <ac:spMk id="2277" creationId="{4C242AB8-90EC-D741-7DC2-7AFD82308ACA}"/>
          </ac:spMkLst>
        </pc:spChg>
        <pc:spChg chg="add mod">
          <ac:chgData name="Siddhartha Paul" userId="0f6d2a28-7c6e-4106-a327-1058fe8b7c05" providerId="ADAL" clId="{C15EC1BA-EE25-4672-92A2-9249CEBF869C}" dt="2024-02-20T19:19:53.795" v="2646" actId="164"/>
          <ac:spMkLst>
            <pc:docMk/>
            <pc:sldMk cId="3774946950" sldId="2146847210"/>
            <ac:spMk id="2278" creationId="{CC6A29F0-3A72-3C27-2347-E0D0ECA5E6D2}"/>
          </ac:spMkLst>
        </pc:spChg>
        <pc:spChg chg="add mod">
          <ac:chgData name="Siddhartha Paul" userId="0f6d2a28-7c6e-4106-a327-1058fe8b7c05" providerId="ADAL" clId="{C15EC1BA-EE25-4672-92A2-9249CEBF869C}" dt="2024-02-20T19:19:53.795" v="2646" actId="164"/>
          <ac:spMkLst>
            <pc:docMk/>
            <pc:sldMk cId="3774946950" sldId="2146847210"/>
            <ac:spMk id="2279" creationId="{440A6B40-D899-B47A-83CF-0279E9FC8639}"/>
          </ac:spMkLst>
        </pc:spChg>
        <pc:spChg chg="add mod">
          <ac:chgData name="Siddhartha Paul" userId="0f6d2a28-7c6e-4106-a327-1058fe8b7c05" providerId="ADAL" clId="{C15EC1BA-EE25-4672-92A2-9249CEBF869C}" dt="2024-02-20T19:19:57.896" v="2647" actId="164"/>
          <ac:spMkLst>
            <pc:docMk/>
            <pc:sldMk cId="3774946950" sldId="2146847210"/>
            <ac:spMk id="2280" creationId="{DC633CC1-BD55-6CD4-0847-92471C2B1CBB}"/>
          </ac:spMkLst>
        </pc:spChg>
        <pc:spChg chg="add mod">
          <ac:chgData name="Siddhartha Paul" userId="0f6d2a28-7c6e-4106-a327-1058fe8b7c05" providerId="ADAL" clId="{C15EC1BA-EE25-4672-92A2-9249CEBF869C}" dt="2024-02-20T19:19:57.896" v="2647" actId="164"/>
          <ac:spMkLst>
            <pc:docMk/>
            <pc:sldMk cId="3774946950" sldId="2146847210"/>
            <ac:spMk id="2281" creationId="{22632913-FDE0-691B-4E87-D71B13F993F7}"/>
          </ac:spMkLst>
        </pc:spChg>
        <pc:spChg chg="add mod">
          <ac:chgData name="Siddhartha Paul" userId="0f6d2a28-7c6e-4106-a327-1058fe8b7c05" providerId="ADAL" clId="{C15EC1BA-EE25-4672-92A2-9249CEBF869C}" dt="2024-02-20T19:19:57.896" v="2647" actId="164"/>
          <ac:spMkLst>
            <pc:docMk/>
            <pc:sldMk cId="3774946950" sldId="2146847210"/>
            <ac:spMk id="2282" creationId="{F702318A-5E39-4050-2695-FBC2317E580A}"/>
          </ac:spMkLst>
        </pc:spChg>
        <pc:spChg chg="add mod">
          <ac:chgData name="Siddhartha Paul" userId="0f6d2a28-7c6e-4106-a327-1058fe8b7c05" providerId="ADAL" clId="{C15EC1BA-EE25-4672-92A2-9249CEBF869C}" dt="2024-02-20T19:26:31.407" v="2777" actId="1076"/>
          <ac:spMkLst>
            <pc:docMk/>
            <pc:sldMk cId="3774946950" sldId="2146847210"/>
            <ac:spMk id="2283" creationId="{2A99102B-45FF-473C-06F3-138C5BB3B765}"/>
          </ac:spMkLst>
        </pc:spChg>
        <pc:spChg chg="add del mod">
          <ac:chgData name="Siddhartha Paul" userId="0f6d2a28-7c6e-4106-a327-1058fe8b7c05" providerId="ADAL" clId="{C15EC1BA-EE25-4672-92A2-9249CEBF869C}" dt="2024-02-20T19:23:39.591" v="2703" actId="478"/>
          <ac:spMkLst>
            <pc:docMk/>
            <pc:sldMk cId="3774946950" sldId="2146847210"/>
            <ac:spMk id="2284" creationId="{7DC4180F-A2E1-5537-44E4-84DAF1C6B4FD}"/>
          </ac:spMkLst>
        </pc:spChg>
        <pc:spChg chg="add del mod">
          <ac:chgData name="Siddhartha Paul" userId="0f6d2a28-7c6e-4106-a327-1058fe8b7c05" providerId="ADAL" clId="{C15EC1BA-EE25-4672-92A2-9249CEBF869C}" dt="2024-02-20T19:23:39.591" v="2703" actId="478"/>
          <ac:spMkLst>
            <pc:docMk/>
            <pc:sldMk cId="3774946950" sldId="2146847210"/>
            <ac:spMk id="2285" creationId="{B8BE706C-B35F-03A1-488E-70D04CCB61BA}"/>
          </ac:spMkLst>
        </pc:spChg>
        <pc:spChg chg="add del mod">
          <ac:chgData name="Siddhartha Paul" userId="0f6d2a28-7c6e-4106-a327-1058fe8b7c05" providerId="ADAL" clId="{C15EC1BA-EE25-4672-92A2-9249CEBF869C}" dt="2024-02-20T19:23:39.591" v="2703" actId="478"/>
          <ac:spMkLst>
            <pc:docMk/>
            <pc:sldMk cId="3774946950" sldId="2146847210"/>
            <ac:spMk id="2286" creationId="{E3D2E66B-4477-F046-1E64-C5A7676E4E8F}"/>
          </ac:spMkLst>
        </pc:spChg>
        <pc:spChg chg="add mod">
          <ac:chgData name="Siddhartha Paul" userId="0f6d2a28-7c6e-4106-a327-1058fe8b7c05" providerId="ADAL" clId="{C15EC1BA-EE25-4672-92A2-9249CEBF869C}" dt="2024-02-20T19:26:31.407" v="2777" actId="1076"/>
          <ac:spMkLst>
            <pc:docMk/>
            <pc:sldMk cId="3774946950" sldId="2146847210"/>
            <ac:spMk id="2291" creationId="{354CF258-4A56-E20E-C2B4-A23D74961A0E}"/>
          </ac:spMkLst>
        </pc:spChg>
        <pc:spChg chg="add mod">
          <ac:chgData name="Siddhartha Paul" userId="0f6d2a28-7c6e-4106-a327-1058fe8b7c05" providerId="ADAL" clId="{C15EC1BA-EE25-4672-92A2-9249CEBF869C}" dt="2024-02-20T19:26:31.407" v="2777" actId="1076"/>
          <ac:spMkLst>
            <pc:docMk/>
            <pc:sldMk cId="3774946950" sldId="2146847210"/>
            <ac:spMk id="2292" creationId="{848F4A6A-6318-FF36-DD04-F44F839B6EF2}"/>
          </ac:spMkLst>
        </pc:spChg>
        <pc:spChg chg="add mod">
          <ac:chgData name="Siddhartha Paul" userId="0f6d2a28-7c6e-4106-a327-1058fe8b7c05" providerId="ADAL" clId="{C15EC1BA-EE25-4672-92A2-9249CEBF869C}" dt="2024-02-20T19:26:31.407" v="2777" actId="1076"/>
          <ac:spMkLst>
            <pc:docMk/>
            <pc:sldMk cId="3774946950" sldId="2146847210"/>
            <ac:spMk id="2293" creationId="{9EB064B8-E48C-9DD4-13AA-FACA5ECAFCD1}"/>
          </ac:spMkLst>
        </pc:spChg>
        <pc:spChg chg="mod">
          <ac:chgData name="Siddhartha Paul" userId="0f6d2a28-7c6e-4106-a327-1058fe8b7c05" providerId="ADAL" clId="{C15EC1BA-EE25-4672-92A2-9249CEBF869C}" dt="2024-02-20T19:23:05.252" v="2693"/>
          <ac:spMkLst>
            <pc:docMk/>
            <pc:sldMk cId="3774946950" sldId="2146847210"/>
            <ac:spMk id="2296" creationId="{6C30D068-FD07-E0FC-6D1F-BA9959C5DA1D}"/>
          </ac:spMkLst>
        </pc:spChg>
        <pc:spChg chg="mod">
          <ac:chgData name="Siddhartha Paul" userId="0f6d2a28-7c6e-4106-a327-1058fe8b7c05" providerId="ADAL" clId="{C15EC1BA-EE25-4672-92A2-9249CEBF869C}" dt="2024-02-20T19:23:05.252" v="2693"/>
          <ac:spMkLst>
            <pc:docMk/>
            <pc:sldMk cId="3774946950" sldId="2146847210"/>
            <ac:spMk id="2297" creationId="{071C628B-9927-983F-2045-F3BD33ADA40B}"/>
          </ac:spMkLst>
        </pc:spChg>
        <pc:spChg chg="mod">
          <ac:chgData name="Siddhartha Paul" userId="0f6d2a28-7c6e-4106-a327-1058fe8b7c05" providerId="ADAL" clId="{C15EC1BA-EE25-4672-92A2-9249CEBF869C}" dt="2024-02-20T19:23:05.252" v="2693"/>
          <ac:spMkLst>
            <pc:docMk/>
            <pc:sldMk cId="3774946950" sldId="2146847210"/>
            <ac:spMk id="2298" creationId="{8350E3FC-2E6C-C55D-EB84-18BAE6EEB31F}"/>
          </ac:spMkLst>
        </pc:spChg>
        <pc:spChg chg="mod">
          <ac:chgData name="Siddhartha Paul" userId="0f6d2a28-7c6e-4106-a327-1058fe8b7c05" providerId="ADAL" clId="{C15EC1BA-EE25-4672-92A2-9249CEBF869C}" dt="2024-02-20T19:23:11.496" v="2695"/>
          <ac:spMkLst>
            <pc:docMk/>
            <pc:sldMk cId="3774946950" sldId="2146847210"/>
            <ac:spMk id="2300" creationId="{B2B0E8AD-0206-880F-A957-C0C6D9075B3E}"/>
          </ac:spMkLst>
        </pc:spChg>
        <pc:spChg chg="mod">
          <ac:chgData name="Siddhartha Paul" userId="0f6d2a28-7c6e-4106-a327-1058fe8b7c05" providerId="ADAL" clId="{C15EC1BA-EE25-4672-92A2-9249CEBF869C}" dt="2024-02-20T19:23:11.496" v="2695"/>
          <ac:spMkLst>
            <pc:docMk/>
            <pc:sldMk cId="3774946950" sldId="2146847210"/>
            <ac:spMk id="2301" creationId="{DB49A80F-A3C9-7E8E-C7D5-E76D70BE70B8}"/>
          </ac:spMkLst>
        </pc:spChg>
        <pc:spChg chg="mod">
          <ac:chgData name="Siddhartha Paul" userId="0f6d2a28-7c6e-4106-a327-1058fe8b7c05" providerId="ADAL" clId="{C15EC1BA-EE25-4672-92A2-9249CEBF869C}" dt="2024-02-20T19:23:11.496" v="2695"/>
          <ac:spMkLst>
            <pc:docMk/>
            <pc:sldMk cId="3774946950" sldId="2146847210"/>
            <ac:spMk id="2302" creationId="{636221FF-608D-3A48-D724-6B9191C76552}"/>
          </ac:spMkLst>
        </pc:spChg>
        <pc:spChg chg="mod">
          <ac:chgData name="Siddhartha Paul" userId="0f6d2a28-7c6e-4106-a327-1058fe8b7c05" providerId="ADAL" clId="{C15EC1BA-EE25-4672-92A2-9249CEBF869C}" dt="2024-02-20T19:23:15.556" v="2697"/>
          <ac:spMkLst>
            <pc:docMk/>
            <pc:sldMk cId="3774946950" sldId="2146847210"/>
            <ac:spMk id="2304" creationId="{10E8E646-D4E8-EB5D-C646-286161DB103E}"/>
          </ac:spMkLst>
        </pc:spChg>
        <pc:spChg chg="mod">
          <ac:chgData name="Siddhartha Paul" userId="0f6d2a28-7c6e-4106-a327-1058fe8b7c05" providerId="ADAL" clId="{C15EC1BA-EE25-4672-92A2-9249CEBF869C}" dt="2024-02-20T19:23:15.556" v="2697"/>
          <ac:spMkLst>
            <pc:docMk/>
            <pc:sldMk cId="3774946950" sldId="2146847210"/>
            <ac:spMk id="2305" creationId="{B825000A-0927-822B-EE36-48D53481CC71}"/>
          </ac:spMkLst>
        </pc:spChg>
        <pc:spChg chg="mod">
          <ac:chgData name="Siddhartha Paul" userId="0f6d2a28-7c6e-4106-a327-1058fe8b7c05" providerId="ADAL" clId="{C15EC1BA-EE25-4672-92A2-9249CEBF869C}" dt="2024-02-20T19:23:15.556" v="2697"/>
          <ac:spMkLst>
            <pc:docMk/>
            <pc:sldMk cId="3774946950" sldId="2146847210"/>
            <ac:spMk id="2306" creationId="{E3C47115-6C86-83CF-6315-A64888F49824}"/>
          </ac:spMkLst>
        </pc:spChg>
        <pc:spChg chg="add mod">
          <ac:chgData name="Siddhartha Paul" userId="0f6d2a28-7c6e-4106-a327-1058fe8b7c05" providerId="ADAL" clId="{C15EC1BA-EE25-4672-92A2-9249CEBF869C}" dt="2024-02-20T19:26:31.407" v="2777" actId="1076"/>
          <ac:spMkLst>
            <pc:docMk/>
            <pc:sldMk cId="3774946950" sldId="2146847210"/>
            <ac:spMk id="2307" creationId="{07F9D22A-374B-E0F1-7C55-4DDC91AB5BB0}"/>
          </ac:spMkLst>
        </pc:spChg>
        <pc:spChg chg="add mod">
          <ac:chgData name="Siddhartha Paul" userId="0f6d2a28-7c6e-4106-a327-1058fe8b7c05" providerId="ADAL" clId="{C15EC1BA-EE25-4672-92A2-9249CEBF869C}" dt="2024-02-20T19:26:31.407" v="2777" actId="1076"/>
          <ac:spMkLst>
            <pc:docMk/>
            <pc:sldMk cId="3774946950" sldId="2146847210"/>
            <ac:spMk id="2308" creationId="{A157A310-1BBE-F425-BD67-72C200A5C8D8}"/>
          </ac:spMkLst>
        </pc:spChg>
        <pc:spChg chg="add mod">
          <ac:chgData name="Siddhartha Paul" userId="0f6d2a28-7c6e-4106-a327-1058fe8b7c05" providerId="ADAL" clId="{C15EC1BA-EE25-4672-92A2-9249CEBF869C}" dt="2024-02-20T19:24:47.593" v="2740" actId="1076"/>
          <ac:spMkLst>
            <pc:docMk/>
            <pc:sldMk cId="3774946950" sldId="2146847210"/>
            <ac:spMk id="2309" creationId="{FE2276A5-AFC6-77FA-B1CB-31775943C46E}"/>
          </ac:spMkLst>
        </pc:spChg>
        <pc:spChg chg="add mod">
          <ac:chgData name="Siddhartha Paul" userId="0f6d2a28-7c6e-4106-a327-1058fe8b7c05" providerId="ADAL" clId="{C15EC1BA-EE25-4672-92A2-9249CEBF869C}" dt="2024-02-20T19:25:10.126" v="2747" actId="14100"/>
          <ac:spMkLst>
            <pc:docMk/>
            <pc:sldMk cId="3774946950" sldId="2146847210"/>
            <ac:spMk id="2310" creationId="{C379F484-3F6A-2864-59AD-324A1695708C}"/>
          </ac:spMkLst>
        </pc:spChg>
        <pc:spChg chg="add mod">
          <ac:chgData name="Siddhartha Paul" userId="0f6d2a28-7c6e-4106-a327-1058fe8b7c05" providerId="ADAL" clId="{C15EC1BA-EE25-4672-92A2-9249CEBF869C}" dt="2024-02-20T19:26:52.248" v="2859" actId="20577"/>
          <ac:spMkLst>
            <pc:docMk/>
            <pc:sldMk cId="3774946950" sldId="2146847210"/>
            <ac:spMk id="2311" creationId="{CDD2BD4E-3900-9CD9-636A-C2E9F372AA7E}"/>
          </ac:spMkLst>
        </pc:spChg>
        <pc:grpChg chg="add del mod">
          <ac:chgData name="Siddhartha Paul" userId="0f6d2a28-7c6e-4106-a327-1058fe8b7c05" providerId="ADAL" clId="{C15EC1BA-EE25-4672-92A2-9249CEBF869C}" dt="2024-02-20T19:10:43.620" v="2339" actId="478"/>
          <ac:grpSpMkLst>
            <pc:docMk/>
            <pc:sldMk cId="3774946950" sldId="2146847210"/>
            <ac:grpSpMk id="2" creationId="{747907AB-D459-8E68-BBBC-1D9686FB942F}"/>
          </ac:grpSpMkLst>
        </pc:grpChg>
        <pc:grpChg chg="del">
          <ac:chgData name="Siddhartha Paul" userId="0f6d2a28-7c6e-4106-a327-1058fe8b7c05" providerId="ADAL" clId="{C15EC1BA-EE25-4672-92A2-9249CEBF869C}" dt="2024-02-20T19:09:46.868" v="2316" actId="478"/>
          <ac:grpSpMkLst>
            <pc:docMk/>
            <pc:sldMk cId="3774946950" sldId="2146847210"/>
            <ac:grpSpMk id="6" creationId="{2D7350F7-78BE-EB48-9D80-A79F0D05FCE3}"/>
          </ac:grpSpMkLst>
        </pc:grpChg>
        <pc:grpChg chg="add del mod">
          <ac:chgData name="Siddhartha Paul" userId="0f6d2a28-7c6e-4106-a327-1058fe8b7c05" providerId="ADAL" clId="{C15EC1BA-EE25-4672-92A2-9249CEBF869C}" dt="2024-02-20T19:10:43.620" v="2339" actId="478"/>
          <ac:grpSpMkLst>
            <pc:docMk/>
            <pc:sldMk cId="3774946950" sldId="2146847210"/>
            <ac:grpSpMk id="28" creationId="{7920E39B-8C5C-D801-FCED-2CAF5019E881}"/>
          </ac:grpSpMkLst>
        </pc:grpChg>
        <pc:grpChg chg="del">
          <ac:chgData name="Siddhartha Paul" userId="0f6d2a28-7c6e-4106-a327-1058fe8b7c05" providerId="ADAL" clId="{C15EC1BA-EE25-4672-92A2-9249CEBF869C}" dt="2024-02-20T19:09:46.868" v="2316" actId="478"/>
          <ac:grpSpMkLst>
            <pc:docMk/>
            <pc:sldMk cId="3774946950" sldId="2146847210"/>
            <ac:grpSpMk id="2048" creationId="{BEFD7326-623B-2BD6-CA20-74B593D502C8}"/>
          </ac:grpSpMkLst>
        </pc:grpChg>
        <pc:grpChg chg="del">
          <ac:chgData name="Siddhartha Paul" userId="0f6d2a28-7c6e-4106-a327-1058fe8b7c05" providerId="ADAL" clId="{C15EC1BA-EE25-4672-92A2-9249CEBF869C}" dt="2024-02-20T19:09:46.868" v="2316" actId="478"/>
          <ac:grpSpMkLst>
            <pc:docMk/>
            <pc:sldMk cId="3774946950" sldId="2146847210"/>
            <ac:grpSpMk id="2098" creationId="{D260B70C-6D58-491F-DB79-83B3C9AB8655}"/>
          </ac:grpSpMkLst>
        </pc:grpChg>
        <pc:grpChg chg="add del mod">
          <ac:chgData name="Siddhartha Paul" userId="0f6d2a28-7c6e-4106-a327-1058fe8b7c05" providerId="ADAL" clId="{C15EC1BA-EE25-4672-92A2-9249CEBF869C}" dt="2024-02-20T19:10:43.620" v="2339" actId="478"/>
          <ac:grpSpMkLst>
            <pc:docMk/>
            <pc:sldMk cId="3774946950" sldId="2146847210"/>
            <ac:grpSpMk id="2150" creationId="{6D39D047-0F5F-191B-1478-E0F420D4589E}"/>
          </ac:grpSpMkLst>
        </pc:grpChg>
        <pc:grpChg chg="add del mod">
          <ac:chgData name="Siddhartha Paul" userId="0f6d2a28-7c6e-4106-a327-1058fe8b7c05" providerId="ADAL" clId="{C15EC1BA-EE25-4672-92A2-9249CEBF869C}" dt="2024-02-20T19:10:43.620" v="2339" actId="478"/>
          <ac:grpSpMkLst>
            <pc:docMk/>
            <pc:sldMk cId="3774946950" sldId="2146847210"/>
            <ac:grpSpMk id="2170" creationId="{6D5379AF-0970-CA3B-D926-50CEBD48EB4E}"/>
          </ac:grpSpMkLst>
        </pc:grpChg>
        <pc:grpChg chg="del">
          <ac:chgData name="Siddhartha Paul" userId="0f6d2a28-7c6e-4106-a327-1058fe8b7c05" providerId="ADAL" clId="{C15EC1BA-EE25-4672-92A2-9249CEBF869C}" dt="2024-02-20T19:09:46.868" v="2316" actId="478"/>
          <ac:grpSpMkLst>
            <pc:docMk/>
            <pc:sldMk cId="3774946950" sldId="2146847210"/>
            <ac:grpSpMk id="2172" creationId="{15F1F768-E30C-7EBC-A27A-2C2395492070}"/>
          </ac:grpSpMkLst>
        </pc:grpChg>
        <pc:grpChg chg="add mod">
          <ac:chgData name="Siddhartha Paul" userId="0f6d2a28-7c6e-4106-a327-1058fe8b7c05" providerId="ADAL" clId="{C15EC1BA-EE25-4672-92A2-9249CEBF869C}" dt="2024-02-20T19:26:31.407" v="2777" actId="1076"/>
          <ac:grpSpMkLst>
            <pc:docMk/>
            <pc:sldMk cId="3774946950" sldId="2146847210"/>
            <ac:grpSpMk id="2238" creationId="{0F0FC8A0-C50F-DA92-C310-0A36E1212E3F}"/>
          </ac:grpSpMkLst>
        </pc:grpChg>
        <pc:grpChg chg="add mod">
          <ac:chgData name="Siddhartha Paul" userId="0f6d2a28-7c6e-4106-a327-1058fe8b7c05" providerId="ADAL" clId="{C15EC1BA-EE25-4672-92A2-9249CEBF869C}" dt="2024-02-20T19:26:31.407" v="2777" actId="1076"/>
          <ac:grpSpMkLst>
            <pc:docMk/>
            <pc:sldMk cId="3774946950" sldId="2146847210"/>
            <ac:grpSpMk id="2243" creationId="{74982A59-766A-73D0-AC7C-520214DDFE60}"/>
          </ac:grpSpMkLst>
        </pc:grpChg>
        <pc:grpChg chg="add del mod">
          <ac:chgData name="Siddhartha Paul" userId="0f6d2a28-7c6e-4106-a327-1058fe8b7c05" providerId="ADAL" clId="{C15EC1BA-EE25-4672-92A2-9249CEBF869C}" dt="2024-02-20T19:12:33.517" v="2407" actId="478"/>
          <ac:grpSpMkLst>
            <pc:docMk/>
            <pc:sldMk cId="3774946950" sldId="2146847210"/>
            <ac:grpSpMk id="2248" creationId="{89753584-B8A4-2304-AA73-560B087389C6}"/>
          </ac:grpSpMkLst>
        </pc:grpChg>
        <pc:grpChg chg="add del mod">
          <ac:chgData name="Siddhartha Paul" userId="0f6d2a28-7c6e-4106-a327-1058fe8b7c05" providerId="ADAL" clId="{C15EC1BA-EE25-4672-92A2-9249CEBF869C}" dt="2024-02-20T19:16:07.898" v="2554" actId="478"/>
          <ac:grpSpMkLst>
            <pc:docMk/>
            <pc:sldMk cId="3774946950" sldId="2146847210"/>
            <ac:grpSpMk id="2253" creationId="{A957D4B1-DFBD-7AC4-21DE-2DACCC94AB25}"/>
          </ac:grpSpMkLst>
        </pc:grpChg>
        <pc:grpChg chg="add mod">
          <ac:chgData name="Siddhartha Paul" userId="0f6d2a28-7c6e-4106-a327-1058fe8b7c05" providerId="ADAL" clId="{C15EC1BA-EE25-4672-92A2-9249CEBF869C}" dt="2024-02-20T19:26:31.407" v="2777" actId="1076"/>
          <ac:grpSpMkLst>
            <pc:docMk/>
            <pc:sldMk cId="3774946950" sldId="2146847210"/>
            <ac:grpSpMk id="2260" creationId="{CEB51C2A-0D8E-A013-A210-55EF3516B44E}"/>
          </ac:grpSpMkLst>
        </pc:grpChg>
        <pc:grpChg chg="add del mod">
          <ac:chgData name="Siddhartha Paul" userId="0f6d2a28-7c6e-4106-a327-1058fe8b7c05" providerId="ADAL" clId="{C15EC1BA-EE25-4672-92A2-9249CEBF869C}" dt="2024-02-20T19:23:01.850" v="2692" actId="478"/>
          <ac:grpSpMkLst>
            <pc:docMk/>
            <pc:sldMk cId="3774946950" sldId="2146847210"/>
            <ac:grpSpMk id="2287" creationId="{FFF615EC-4D40-EC77-2C0A-0DF5481C2C23}"/>
          </ac:grpSpMkLst>
        </pc:grpChg>
        <pc:grpChg chg="add del mod">
          <ac:chgData name="Siddhartha Paul" userId="0f6d2a28-7c6e-4106-a327-1058fe8b7c05" providerId="ADAL" clId="{C15EC1BA-EE25-4672-92A2-9249CEBF869C}" dt="2024-02-20T19:23:01.850" v="2692" actId="478"/>
          <ac:grpSpMkLst>
            <pc:docMk/>
            <pc:sldMk cId="3774946950" sldId="2146847210"/>
            <ac:grpSpMk id="2288" creationId="{CCD56C67-C428-CEE4-6026-086C30F5AB8F}"/>
          </ac:grpSpMkLst>
        </pc:grpChg>
        <pc:grpChg chg="add del mod">
          <ac:chgData name="Siddhartha Paul" userId="0f6d2a28-7c6e-4106-a327-1058fe8b7c05" providerId="ADAL" clId="{C15EC1BA-EE25-4672-92A2-9249CEBF869C}" dt="2024-02-20T19:23:01.850" v="2692" actId="478"/>
          <ac:grpSpMkLst>
            <pc:docMk/>
            <pc:sldMk cId="3774946950" sldId="2146847210"/>
            <ac:grpSpMk id="2289" creationId="{1E9F73BE-1E18-7DB1-F3D1-2162C2A699B0}"/>
          </ac:grpSpMkLst>
        </pc:grpChg>
        <pc:grpChg chg="add del mod">
          <ac:chgData name="Siddhartha Paul" userId="0f6d2a28-7c6e-4106-a327-1058fe8b7c05" providerId="ADAL" clId="{C15EC1BA-EE25-4672-92A2-9249CEBF869C}" dt="2024-02-20T19:21:57.659" v="2681" actId="165"/>
          <ac:grpSpMkLst>
            <pc:docMk/>
            <pc:sldMk cId="3774946950" sldId="2146847210"/>
            <ac:grpSpMk id="2290" creationId="{DC1980B0-D80C-44D0-DD22-EA8E2FBFD388}"/>
          </ac:grpSpMkLst>
        </pc:grpChg>
        <pc:grpChg chg="add mod">
          <ac:chgData name="Siddhartha Paul" userId="0f6d2a28-7c6e-4106-a327-1058fe8b7c05" providerId="ADAL" clId="{C15EC1BA-EE25-4672-92A2-9249CEBF869C}" dt="2024-02-20T19:26:31.407" v="2777" actId="1076"/>
          <ac:grpSpMkLst>
            <pc:docMk/>
            <pc:sldMk cId="3774946950" sldId="2146847210"/>
            <ac:grpSpMk id="2294" creationId="{F8F684C0-DA21-1F82-8EFA-048B20D19926}"/>
          </ac:grpSpMkLst>
        </pc:grpChg>
        <pc:grpChg chg="add mod">
          <ac:chgData name="Siddhartha Paul" userId="0f6d2a28-7c6e-4106-a327-1058fe8b7c05" providerId="ADAL" clId="{C15EC1BA-EE25-4672-92A2-9249CEBF869C}" dt="2024-02-20T19:26:31.407" v="2777" actId="1076"/>
          <ac:grpSpMkLst>
            <pc:docMk/>
            <pc:sldMk cId="3774946950" sldId="2146847210"/>
            <ac:grpSpMk id="2295" creationId="{BC8C19D9-5B4E-B905-598F-230F693CB1A7}"/>
          </ac:grpSpMkLst>
        </pc:grpChg>
        <pc:grpChg chg="add mod">
          <ac:chgData name="Siddhartha Paul" userId="0f6d2a28-7c6e-4106-a327-1058fe8b7c05" providerId="ADAL" clId="{C15EC1BA-EE25-4672-92A2-9249CEBF869C}" dt="2024-02-20T19:26:31.407" v="2777" actId="1076"/>
          <ac:grpSpMkLst>
            <pc:docMk/>
            <pc:sldMk cId="3774946950" sldId="2146847210"/>
            <ac:grpSpMk id="2299" creationId="{79BB8CE8-6F46-10DC-E2DD-62183AA38498}"/>
          </ac:grpSpMkLst>
        </pc:grpChg>
        <pc:grpChg chg="add mod">
          <ac:chgData name="Siddhartha Paul" userId="0f6d2a28-7c6e-4106-a327-1058fe8b7c05" providerId="ADAL" clId="{C15EC1BA-EE25-4672-92A2-9249CEBF869C}" dt="2024-02-20T19:26:31.407" v="2777" actId="1076"/>
          <ac:grpSpMkLst>
            <pc:docMk/>
            <pc:sldMk cId="3774946950" sldId="2146847210"/>
            <ac:grpSpMk id="2303" creationId="{2C87AB95-6C9F-2CA8-690B-0C783A5610FD}"/>
          </ac:grpSpMkLst>
        </pc:grpChg>
        <pc:picChg chg="add del mod">
          <ac:chgData name="Siddhartha Paul" userId="0f6d2a28-7c6e-4106-a327-1058fe8b7c05" providerId="ADAL" clId="{C15EC1BA-EE25-4672-92A2-9249CEBF869C}" dt="2024-02-20T19:10:43.620" v="2339" actId="478"/>
          <ac:picMkLst>
            <pc:docMk/>
            <pc:sldMk cId="3774946950" sldId="2146847210"/>
            <ac:picMk id="2190" creationId="{60246FE5-8402-0F29-2023-B82B23075634}"/>
          </ac:picMkLst>
        </pc:picChg>
        <pc:picChg chg="add del mod">
          <ac:chgData name="Siddhartha Paul" userId="0f6d2a28-7c6e-4106-a327-1058fe8b7c05" providerId="ADAL" clId="{C15EC1BA-EE25-4672-92A2-9249CEBF869C}" dt="2024-02-20T19:10:43.620" v="2339" actId="478"/>
          <ac:picMkLst>
            <pc:docMk/>
            <pc:sldMk cId="3774946950" sldId="2146847210"/>
            <ac:picMk id="2193" creationId="{13309A76-A682-DD52-3E06-04CB19B17746}"/>
          </ac:picMkLst>
        </pc:picChg>
        <pc:picChg chg="add del mod">
          <ac:chgData name="Siddhartha Paul" userId="0f6d2a28-7c6e-4106-a327-1058fe8b7c05" providerId="ADAL" clId="{C15EC1BA-EE25-4672-92A2-9249CEBF869C}" dt="2024-02-20T19:10:43.620" v="2339" actId="478"/>
          <ac:picMkLst>
            <pc:docMk/>
            <pc:sldMk cId="3774946950" sldId="2146847210"/>
            <ac:picMk id="2196" creationId="{52EA21BC-68CC-A644-66FB-F867426DF6D9}"/>
          </ac:picMkLst>
        </pc:picChg>
        <pc:picChg chg="add del mod">
          <ac:chgData name="Siddhartha Paul" userId="0f6d2a28-7c6e-4106-a327-1058fe8b7c05" providerId="ADAL" clId="{C15EC1BA-EE25-4672-92A2-9249CEBF869C}" dt="2024-02-20T19:10:43.620" v="2339" actId="478"/>
          <ac:picMkLst>
            <pc:docMk/>
            <pc:sldMk cId="3774946950" sldId="2146847210"/>
            <ac:picMk id="2202" creationId="{69CB20C9-CC17-F0CD-D8D1-926B5EAF4577}"/>
          </ac:picMkLst>
        </pc:picChg>
        <pc:picChg chg="add del mod">
          <ac:chgData name="Siddhartha Paul" userId="0f6d2a28-7c6e-4106-a327-1058fe8b7c05" providerId="ADAL" clId="{C15EC1BA-EE25-4672-92A2-9249CEBF869C}" dt="2024-02-20T19:10:43.620" v="2339" actId="478"/>
          <ac:picMkLst>
            <pc:docMk/>
            <pc:sldMk cId="3774946950" sldId="2146847210"/>
            <ac:picMk id="2231" creationId="{F92137D1-BFD5-733B-C880-83C292CA31DB}"/>
          </ac:picMkLst>
        </pc:picChg>
        <pc:cxnChg chg="mod">
          <ac:chgData name="Siddhartha Paul" userId="0f6d2a28-7c6e-4106-a327-1058fe8b7c05" providerId="ADAL" clId="{C15EC1BA-EE25-4672-92A2-9249CEBF869C}" dt="2024-02-20T19:10:17" v="2336"/>
          <ac:cxnSpMkLst>
            <pc:docMk/>
            <pc:sldMk cId="3774946950" sldId="2146847210"/>
            <ac:cxnSpMk id="4" creationId="{6C0B5B3F-CDC1-E4E9-4971-7E27C2738540}"/>
          </ac:cxnSpMkLst>
        </pc:cxnChg>
        <pc:cxnChg chg="mod">
          <ac:chgData name="Siddhartha Paul" userId="0f6d2a28-7c6e-4106-a327-1058fe8b7c05" providerId="ADAL" clId="{C15EC1BA-EE25-4672-92A2-9249CEBF869C}" dt="2024-02-20T19:10:17" v="2336"/>
          <ac:cxnSpMkLst>
            <pc:docMk/>
            <pc:sldMk cId="3774946950" sldId="2146847210"/>
            <ac:cxnSpMk id="24" creationId="{F5BB33E0-76C8-4DC8-C6B8-7D471BCC7025}"/>
          </ac:cxnSpMkLst>
        </pc:cxnChg>
        <pc:cxnChg chg="mod">
          <ac:chgData name="Siddhartha Paul" userId="0f6d2a28-7c6e-4106-a327-1058fe8b7c05" providerId="ADAL" clId="{C15EC1BA-EE25-4672-92A2-9249CEBF869C}" dt="2024-02-20T19:10:17" v="2336"/>
          <ac:cxnSpMkLst>
            <pc:docMk/>
            <pc:sldMk cId="3774946950" sldId="2146847210"/>
            <ac:cxnSpMk id="26" creationId="{3B923AF2-8FE7-D7F9-C5A2-6F2343F77C6D}"/>
          </ac:cxnSpMkLst>
        </pc:cxnChg>
        <pc:cxnChg chg="mod">
          <ac:chgData name="Siddhartha Paul" userId="0f6d2a28-7c6e-4106-a327-1058fe8b7c05" providerId="ADAL" clId="{C15EC1BA-EE25-4672-92A2-9249CEBF869C}" dt="2024-02-20T19:10:17" v="2336"/>
          <ac:cxnSpMkLst>
            <pc:docMk/>
            <pc:sldMk cId="3774946950" sldId="2146847210"/>
            <ac:cxnSpMk id="29" creationId="{3D83983C-C3E5-AF64-B9E8-D959C5793838}"/>
          </ac:cxnSpMkLst>
        </pc:cxnChg>
        <pc:cxnChg chg="mod">
          <ac:chgData name="Siddhartha Paul" userId="0f6d2a28-7c6e-4106-a327-1058fe8b7c05" providerId="ADAL" clId="{C15EC1BA-EE25-4672-92A2-9249CEBF869C}" dt="2024-02-20T19:10:17" v="2336"/>
          <ac:cxnSpMkLst>
            <pc:docMk/>
            <pc:sldMk cId="3774946950" sldId="2146847210"/>
            <ac:cxnSpMk id="2050" creationId="{4E9D9376-B341-C7E0-943C-BBB3812B1E21}"/>
          </ac:cxnSpMkLst>
        </pc:cxnChg>
        <pc:cxnChg chg="mod">
          <ac:chgData name="Siddhartha Paul" userId="0f6d2a28-7c6e-4106-a327-1058fe8b7c05" providerId="ADAL" clId="{C15EC1BA-EE25-4672-92A2-9249CEBF869C}" dt="2024-02-20T19:10:17" v="2336"/>
          <ac:cxnSpMkLst>
            <pc:docMk/>
            <pc:sldMk cId="3774946950" sldId="2146847210"/>
            <ac:cxnSpMk id="2147" creationId="{3E25D599-6290-F651-7F67-D03A82CB715B}"/>
          </ac:cxnSpMkLst>
        </pc:cxnChg>
        <pc:cxnChg chg="mod">
          <ac:chgData name="Siddhartha Paul" userId="0f6d2a28-7c6e-4106-a327-1058fe8b7c05" providerId="ADAL" clId="{C15EC1BA-EE25-4672-92A2-9249CEBF869C}" dt="2024-02-20T19:10:17" v="2336"/>
          <ac:cxnSpMkLst>
            <pc:docMk/>
            <pc:sldMk cId="3774946950" sldId="2146847210"/>
            <ac:cxnSpMk id="2153" creationId="{40621085-1656-6C1F-3EBD-E71ED58ADDD9}"/>
          </ac:cxnSpMkLst>
        </pc:cxnChg>
        <pc:cxnChg chg="mod">
          <ac:chgData name="Siddhartha Paul" userId="0f6d2a28-7c6e-4106-a327-1058fe8b7c05" providerId="ADAL" clId="{C15EC1BA-EE25-4672-92A2-9249CEBF869C}" dt="2024-02-20T19:10:17" v="2336"/>
          <ac:cxnSpMkLst>
            <pc:docMk/>
            <pc:sldMk cId="3774946950" sldId="2146847210"/>
            <ac:cxnSpMk id="2155" creationId="{789967B3-71B6-F2D2-B906-680B5B04B6EB}"/>
          </ac:cxnSpMkLst>
        </pc:cxnChg>
        <pc:cxnChg chg="mod">
          <ac:chgData name="Siddhartha Paul" userId="0f6d2a28-7c6e-4106-a327-1058fe8b7c05" providerId="ADAL" clId="{C15EC1BA-EE25-4672-92A2-9249CEBF869C}" dt="2024-02-20T19:10:17" v="2336"/>
          <ac:cxnSpMkLst>
            <pc:docMk/>
            <pc:sldMk cId="3774946950" sldId="2146847210"/>
            <ac:cxnSpMk id="2157" creationId="{EBDFB72B-D5D2-5777-9973-0AF534A6D1CE}"/>
          </ac:cxnSpMkLst>
        </pc:cxnChg>
        <pc:cxnChg chg="mod">
          <ac:chgData name="Siddhartha Paul" userId="0f6d2a28-7c6e-4106-a327-1058fe8b7c05" providerId="ADAL" clId="{C15EC1BA-EE25-4672-92A2-9249CEBF869C}" dt="2024-02-20T19:10:17" v="2336"/>
          <ac:cxnSpMkLst>
            <pc:docMk/>
            <pc:sldMk cId="3774946950" sldId="2146847210"/>
            <ac:cxnSpMk id="2171" creationId="{27D90086-95F5-90D8-4EE7-1ABB03F1288A}"/>
          </ac:cxnSpMkLst>
        </pc:cxnChg>
        <pc:cxnChg chg="del mod">
          <ac:chgData name="Siddhartha Paul" userId="0f6d2a28-7c6e-4106-a327-1058fe8b7c05" providerId="ADAL" clId="{C15EC1BA-EE25-4672-92A2-9249CEBF869C}" dt="2024-02-20T19:10:35.742" v="2338" actId="478"/>
          <ac:cxnSpMkLst>
            <pc:docMk/>
            <pc:sldMk cId="3774946950" sldId="2146847210"/>
            <ac:cxnSpMk id="2186" creationId="{BEAB379C-E66D-897F-85D2-D4BDEE9608F7}"/>
          </ac:cxnSpMkLst>
        </pc:cxnChg>
        <pc:cxnChg chg="mod">
          <ac:chgData name="Siddhartha Paul" userId="0f6d2a28-7c6e-4106-a327-1058fe8b7c05" providerId="ADAL" clId="{C15EC1BA-EE25-4672-92A2-9249CEBF869C}" dt="2024-02-20T19:10:17" v="2336"/>
          <ac:cxnSpMkLst>
            <pc:docMk/>
            <pc:sldMk cId="3774946950" sldId="2146847210"/>
            <ac:cxnSpMk id="2187" creationId="{1C169B5E-8A9D-929F-C26E-DF68D0EDD49A}"/>
          </ac:cxnSpMkLst>
        </pc:cxnChg>
        <pc:cxnChg chg="add del mod">
          <ac:chgData name="Siddhartha Paul" userId="0f6d2a28-7c6e-4106-a327-1058fe8b7c05" providerId="ADAL" clId="{C15EC1BA-EE25-4672-92A2-9249CEBF869C}" dt="2024-02-20T19:10:43.620" v="2339" actId="478"/>
          <ac:cxnSpMkLst>
            <pc:docMk/>
            <pc:sldMk cId="3774946950" sldId="2146847210"/>
            <ac:cxnSpMk id="2232" creationId="{FDB3D53A-85F5-0FE0-9261-EE5725DE40F9}"/>
          </ac:cxnSpMkLst>
        </pc:cxnChg>
        <pc:cxnChg chg="add del mod">
          <ac:chgData name="Siddhartha Paul" userId="0f6d2a28-7c6e-4106-a327-1058fe8b7c05" providerId="ADAL" clId="{C15EC1BA-EE25-4672-92A2-9249CEBF869C}" dt="2024-02-20T19:10:43.620" v="2339" actId="478"/>
          <ac:cxnSpMkLst>
            <pc:docMk/>
            <pc:sldMk cId="3774946950" sldId="2146847210"/>
            <ac:cxnSpMk id="2233" creationId="{F1BC57BB-D229-43F3-C4E6-11771534A29D}"/>
          </ac:cxnSpMkLst>
        </pc:cxnChg>
        <pc:cxnChg chg="add del mod">
          <ac:chgData name="Siddhartha Paul" userId="0f6d2a28-7c6e-4106-a327-1058fe8b7c05" providerId="ADAL" clId="{C15EC1BA-EE25-4672-92A2-9249CEBF869C}" dt="2024-02-20T19:10:43.620" v="2339" actId="478"/>
          <ac:cxnSpMkLst>
            <pc:docMk/>
            <pc:sldMk cId="3774946950" sldId="2146847210"/>
            <ac:cxnSpMk id="2234" creationId="{B274E780-8541-286F-0DDE-F062E5FBEF8E}"/>
          </ac:cxnSpMkLst>
        </pc:cxnChg>
        <pc:cxnChg chg="add del mod">
          <ac:chgData name="Siddhartha Paul" userId="0f6d2a28-7c6e-4106-a327-1058fe8b7c05" providerId="ADAL" clId="{C15EC1BA-EE25-4672-92A2-9249CEBF869C}" dt="2024-02-20T19:10:43.620" v="2339" actId="478"/>
          <ac:cxnSpMkLst>
            <pc:docMk/>
            <pc:sldMk cId="3774946950" sldId="2146847210"/>
            <ac:cxnSpMk id="2236" creationId="{531CA410-E329-A0BD-9BA1-DED397657DE5}"/>
          </ac:cxnSpMkLst>
        </pc:cxnChg>
        <pc:cxnChg chg="mod">
          <ac:chgData name="Siddhartha Paul" userId="0f6d2a28-7c6e-4106-a327-1058fe8b7c05" providerId="ADAL" clId="{C15EC1BA-EE25-4672-92A2-9249CEBF869C}" dt="2024-02-20T19:10:50.024" v="2340"/>
          <ac:cxnSpMkLst>
            <pc:docMk/>
            <pc:sldMk cId="3774946950" sldId="2146847210"/>
            <ac:cxnSpMk id="2239" creationId="{6CD2EEED-D71C-0798-DB79-4989AB51201A}"/>
          </ac:cxnSpMkLst>
        </pc:cxnChg>
        <pc:cxnChg chg="mod">
          <ac:chgData name="Siddhartha Paul" userId="0f6d2a28-7c6e-4106-a327-1058fe8b7c05" providerId="ADAL" clId="{C15EC1BA-EE25-4672-92A2-9249CEBF869C}" dt="2024-02-20T19:10:50.024" v="2340"/>
          <ac:cxnSpMkLst>
            <pc:docMk/>
            <pc:sldMk cId="3774946950" sldId="2146847210"/>
            <ac:cxnSpMk id="2240" creationId="{CB47CD31-E183-BDBF-C1D4-E6274A461084}"/>
          </ac:cxnSpMkLst>
        </pc:cxnChg>
        <pc:cxnChg chg="mod">
          <ac:chgData name="Siddhartha Paul" userId="0f6d2a28-7c6e-4106-a327-1058fe8b7c05" providerId="ADAL" clId="{C15EC1BA-EE25-4672-92A2-9249CEBF869C}" dt="2024-02-20T19:10:50.024" v="2340"/>
          <ac:cxnSpMkLst>
            <pc:docMk/>
            <pc:sldMk cId="3774946950" sldId="2146847210"/>
            <ac:cxnSpMk id="2241" creationId="{5590ECCB-2ED4-FDB2-F55E-9D85E94DEE51}"/>
          </ac:cxnSpMkLst>
        </pc:cxnChg>
        <pc:cxnChg chg="mod">
          <ac:chgData name="Siddhartha Paul" userId="0f6d2a28-7c6e-4106-a327-1058fe8b7c05" providerId="ADAL" clId="{C15EC1BA-EE25-4672-92A2-9249CEBF869C}" dt="2024-02-20T19:10:50.024" v="2340"/>
          <ac:cxnSpMkLst>
            <pc:docMk/>
            <pc:sldMk cId="3774946950" sldId="2146847210"/>
            <ac:cxnSpMk id="2244" creationId="{3266BC1F-32F6-213B-2F19-6904F3EC45D2}"/>
          </ac:cxnSpMkLst>
        </pc:cxnChg>
        <pc:cxnChg chg="mod">
          <ac:chgData name="Siddhartha Paul" userId="0f6d2a28-7c6e-4106-a327-1058fe8b7c05" providerId="ADAL" clId="{C15EC1BA-EE25-4672-92A2-9249CEBF869C}" dt="2024-02-20T19:10:50.024" v="2340"/>
          <ac:cxnSpMkLst>
            <pc:docMk/>
            <pc:sldMk cId="3774946950" sldId="2146847210"/>
            <ac:cxnSpMk id="2245" creationId="{56163C34-4610-5DB7-8066-D72859F629AD}"/>
          </ac:cxnSpMkLst>
        </pc:cxnChg>
        <pc:cxnChg chg="mod">
          <ac:chgData name="Siddhartha Paul" userId="0f6d2a28-7c6e-4106-a327-1058fe8b7c05" providerId="ADAL" clId="{C15EC1BA-EE25-4672-92A2-9249CEBF869C}" dt="2024-02-20T19:10:50.024" v="2340"/>
          <ac:cxnSpMkLst>
            <pc:docMk/>
            <pc:sldMk cId="3774946950" sldId="2146847210"/>
            <ac:cxnSpMk id="2246" creationId="{02008750-F89D-471B-DDA6-7298BB53BD73}"/>
          </ac:cxnSpMkLst>
        </pc:cxnChg>
        <pc:cxnChg chg="mod">
          <ac:chgData name="Siddhartha Paul" userId="0f6d2a28-7c6e-4106-a327-1058fe8b7c05" providerId="ADAL" clId="{C15EC1BA-EE25-4672-92A2-9249CEBF869C}" dt="2024-02-20T19:10:50.024" v="2340"/>
          <ac:cxnSpMkLst>
            <pc:docMk/>
            <pc:sldMk cId="3774946950" sldId="2146847210"/>
            <ac:cxnSpMk id="2249" creationId="{37031116-0DF0-1944-19C6-D1EC5D7DD36D}"/>
          </ac:cxnSpMkLst>
        </pc:cxnChg>
        <pc:cxnChg chg="mod">
          <ac:chgData name="Siddhartha Paul" userId="0f6d2a28-7c6e-4106-a327-1058fe8b7c05" providerId="ADAL" clId="{C15EC1BA-EE25-4672-92A2-9249CEBF869C}" dt="2024-02-20T19:10:50.024" v="2340"/>
          <ac:cxnSpMkLst>
            <pc:docMk/>
            <pc:sldMk cId="3774946950" sldId="2146847210"/>
            <ac:cxnSpMk id="2250" creationId="{409181ED-55E5-33E8-8F8D-48D9902B2499}"/>
          </ac:cxnSpMkLst>
        </pc:cxnChg>
        <pc:cxnChg chg="mod">
          <ac:chgData name="Siddhartha Paul" userId="0f6d2a28-7c6e-4106-a327-1058fe8b7c05" providerId="ADAL" clId="{C15EC1BA-EE25-4672-92A2-9249CEBF869C}" dt="2024-02-20T19:10:50.024" v="2340"/>
          <ac:cxnSpMkLst>
            <pc:docMk/>
            <pc:sldMk cId="3774946950" sldId="2146847210"/>
            <ac:cxnSpMk id="2251" creationId="{315888EC-EF35-B953-C1AC-5B4DD32EC9D8}"/>
          </ac:cxnSpMkLst>
        </pc:cxnChg>
        <pc:cxnChg chg="mod">
          <ac:chgData name="Siddhartha Paul" userId="0f6d2a28-7c6e-4106-a327-1058fe8b7c05" providerId="ADAL" clId="{C15EC1BA-EE25-4672-92A2-9249CEBF869C}" dt="2024-02-20T19:10:50.024" v="2340"/>
          <ac:cxnSpMkLst>
            <pc:docMk/>
            <pc:sldMk cId="3774946950" sldId="2146847210"/>
            <ac:cxnSpMk id="2254" creationId="{3A27CF54-4D22-6F44-3770-C0D40C650FFA}"/>
          </ac:cxnSpMkLst>
        </pc:cxnChg>
        <pc:cxnChg chg="mod">
          <ac:chgData name="Siddhartha Paul" userId="0f6d2a28-7c6e-4106-a327-1058fe8b7c05" providerId="ADAL" clId="{C15EC1BA-EE25-4672-92A2-9249CEBF869C}" dt="2024-02-20T19:10:50.024" v="2340"/>
          <ac:cxnSpMkLst>
            <pc:docMk/>
            <pc:sldMk cId="3774946950" sldId="2146847210"/>
            <ac:cxnSpMk id="2255" creationId="{CDEAC72F-29DD-2CAD-CB5A-537A8CB4B46C}"/>
          </ac:cxnSpMkLst>
        </pc:cxnChg>
        <pc:cxnChg chg="mod">
          <ac:chgData name="Siddhartha Paul" userId="0f6d2a28-7c6e-4106-a327-1058fe8b7c05" providerId="ADAL" clId="{C15EC1BA-EE25-4672-92A2-9249CEBF869C}" dt="2024-02-20T19:10:50.024" v="2340"/>
          <ac:cxnSpMkLst>
            <pc:docMk/>
            <pc:sldMk cId="3774946950" sldId="2146847210"/>
            <ac:cxnSpMk id="2256" creationId="{A3713281-A8BD-9CFD-8F35-F5F54CC42BC7}"/>
          </ac:cxnSpMkLst>
        </pc:cxnChg>
        <pc:cxnChg chg="add mod">
          <ac:chgData name="Siddhartha Paul" userId="0f6d2a28-7c6e-4106-a327-1058fe8b7c05" providerId="ADAL" clId="{C15EC1BA-EE25-4672-92A2-9249CEBF869C}" dt="2024-02-20T19:26:31.407" v="2777" actId="1076"/>
          <ac:cxnSpMkLst>
            <pc:docMk/>
            <pc:sldMk cId="3774946950" sldId="2146847210"/>
            <ac:cxnSpMk id="2258" creationId="{72065299-B107-490A-D2DA-7E54F6D39AD4}"/>
          </ac:cxnSpMkLst>
        </pc:cxnChg>
        <pc:cxnChg chg="mod">
          <ac:chgData name="Siddhartha Paul" userId="0f6d2a28-7c6e-4106-a327-1058fe8b7c05" providerId="ADAL" clId="{C15EC1BA-EE25-4672-92A2-9249CEBF869C}" dt="2024-02-20T19:16:11.675" v="2555"/>
          <ac:cxnSpMkLst>
            <pc:docMk/>
            <pc:sldMk cId="3774946950" sldId="2146847210"/>
            <ac:cxnSpMk id="2261" creationId="{F49F6683-F998-882A-1CF6-3AB269B8D641}"/>
          </ac:cxnSpMkLst>
        </pc:cxnChg>
        <pc:cxnChg chg="mod">
          <ac:chgData name="Siddhartha Paul" userId="0f6d2a28-7c6e-4106-a327-1058fe8b7c05" providerId="ADAL" clId="{C15EC1BA-EE25-4672-92A2-9249CEBF869C}" dt="2024-02-20T19:16:11.675" v="2555"/>
          <ac:cxnSpMkLst>
            <pc:docMk/>
            <pc:sldMk cId="3774946950" sldId="2146847210"/>
            <ac:cxnSpMk id="2262" creationId="{1A72A262-1E18-3781-8B7F-3A92CB275638}"/>
          </ac:cxnSpMkLst>
        </pc:cxnChg>
        <pc:cxnChg chg="mod">
          <ac:chgData name="Siddhartha Paul" userId="0f6d2a28-7c6e-4106-a327-1058fe8b7c05" providerId="ADAL" clId="{C15EC1BA-EE25-4672-92A2-9249CEBF869C}" dt="2024-02-20T19:16:11.675" v="2555"/>
          <ac:cxnSpMkLst>
            <pc:docMk/>
            <pc:sldMk cId="3774946950" sldId="2146847210"/>
            <ac:cxnSpMk id="2263" creationId="{0499AB05-1C5C-0087-CB4A-84C5FF3B147E}"/>
          </ac:cxnSpMkLst>
        </pc:cxnChg>
        <pc:cxnChg chg="add mod">
          <ac:chgData name="Siddhartha Paul" userId="0f6d2a28-7c6e-4106-a327-1058fe8b7c05" providerId="ADAL" clId="{C15EC1BA-EE25-4672-92A2-9249CEBF869C}" dt="2024-02-20T19:26:31.407" v="2777" actId="1076"/>
          <ac:cxnSpMkLst>
            <pc:docMk/>
            <pc:sldMk cId="3774946950" sldId="2146847210"/>
            <ac:cxnSpMk id="2265" creationId="{182E24A3-C808-10CB-BECC-645677C3DEF4}"/>
          </ac:cxnSpMkLst>
        </pc:cxnChg>
      </pc:sldChg>
      <pc:sldChg chg="addSp delSp modSp add mod ord">
        <pc:chgData name="Siddhartha Paul" userId="0f6d2a28-7c6e-4106-a327-1058fe8b7c05" providerId="ADAL" clId="{C15EC1BA-EE25-4672-92A2-9249CEBF869C}" dt="2024-02-22T07:04:21.704" v="12167"/>
        <pc:sldMkLst>
          <pc:docMk/>
          <pc:sldMk cId="867037587" sldId="2146847211"/>
        </pc:sldMkLst>
        <pc:spChg chg="add del mod">
          <ac:chgData name="Siddhartha Paul" userId="0f6d2a28-7c6e-4106-a327-1058fe8b7c05" providerId="ADAL" clId="{C15EC1BA-EE25-4672-92A2-9249CEBF869C}" dt="2024-02-22T06:55:55.089" v="11874" actId="478"/>
          <ac:spMkLst>
            <pc:docMk/>
            <pc:sldMk cId="867037587" sldId="2146847211"/>
            <ac:spMk id="2" creationId="{B9B30CBA-6B7A-6F46-506E-870ADA1FA821}"/>
          </ac:spMkLst>
        </pc:spChg>
        <pc:spChg chg="add del mod">
          <ac:chgData name="Siddhartha Paul" userId="0f6d2a28-7c6e-4106-a327-1058fe8b7c05" providerId="ADAL" clId="{C15EC1BA-EE25-4672-92A2-9249CEBF869C}" dt="2024-02-22T06:20:43.395" v="11513" actId="478"/>
          <ac:spMkLst>
            <pc:docMk/>
            <pc:sldMk cId="867037587" sldId="2146847211"/>
            <ac:spMk id="3" creationId="{532A9739-AADB-2F99-53F1-8DE779E1C096}"/>
          </ac:spMkLst>
        </pc:spChg>
        <pc:spChg chg="add del mod">
          <ac:chgData name="Siddhartha Paul" userId="0f6d2a28-7c6e-4106-a327-1058fe8b7c05" providerId="ADAL" clId="{C15EC1BA-EE25-4672-92A2-9249CEBF869C}" dt="2024-02-20T19:37:24.919" v="2885" actId="478"/>
          <ac:spMkLst>
            <pc:docMk/>
            <pc:sldMk cId="867037587" sldId="2146847211"/>
            <ac:spMk id="3" creationId="{C5E81DE5-EECF-A505-7C88-E25576F6FCAF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4" creationId="{29752D76-9706-0FED-1013-03E923078ACD}"/>
          </ac:spMkLst>
        </pc:spChg>
        <pc:spChg chg="add del mod">
          <ac:chgData name="Siddhartha Paul" userId="0f6d2a28-7c6e-4106-a327-1058fe8b7c05" providerId="ADAL" clId="{C15EC1BA-EE25-4672-92A2-9249CEBF869C}" dt="2024-02-20T19:53:46.703" v="3259" actId="478"/>
          <ac:spMkLst>
            <pc:docMk/>
            <pc:sldMk cId="867037587" sldId="2146847211"/>
            <ac:spMk id="5" creationId="{9D5C67D8-6C33-8E79-6888-27B6443AF19D}"/>
          </ac:spMkLst>
        </pc:spChg>
        <pc:spChg chg="add mod">
          <ac:chgData name="Siddhartha Paul" userId="0f6d2a28-7c6e-4106-a327-1058fe8b7c05" providerId="ADAL" clId="{C15EC1BA-EE25-4672-92A2-9249CEBF869C}" dt="2024-02-22T05:39:22.549" v="10935"/>
          <ac:spMkLst>
            <pc:docMk/>
            <pc:sldMk cId="867037587" sldId="2146847211"/>
            <ac:spMk id="5" creationId="{DCE8AA98-099A-6B8D-E8F2-0C99D9E5C602}"/>
          </ac:spMkLst>
        </pc:spChg>
        <pc:spChg chg="add del mod">
          <ac:chgData name="Siddhartha Paul" userId="0f6d2a28-7c6e-4106-a327-1058fe8b7c05" providerId="ADAL" clId="{C15EC1BA-EE25-4672-92A2-9249CEBF869C}" dt="2024-02-20T19:53:46.703" v="3259" actId="478"/>
          <ac:spMkLst>
            <pc:docMk/>
            <pc:sldMk cId="867037587" sldId="2146847211"/>
            <ac:spMk id="6" creationId="{66601D87-6478-149C-3726-4716AE5542F0}"/>
          </ac:spMkLst>
        </pc:spChg>
        <pc:spChg chg="add mod">
          <ac:chgData name="Siddhartha Paul" userId="0f6d2a28-7c6e-4106-a327-1058fe8b7c05" providerId="ADAL" clId="{C15EC1BA-EE25-4672-92A2-9249CEBF869C}" dt="2024-02-22T05:39:22.549" v="10935"/>
          <ac:spMkLst>
            <pc:docMk/>
            <pc:sldMk cId="867037587" sldId="2146847211"/>
            <ac:spMk id="6" creationId="{A11A2CBA-8A79-2F4C-5E0D-D7C77824713B}"/>
          </ac:spMkLst>
        </pc:spChg>
        <pc:spChg chg="mod">
          <ac:chgData name="Siddhartha Paul" userId="0f6d2a28-7c6e-4106-a327-1058fe8b7c05" providerId="ADAL" clId="{C15EC1BA-EE25-4672-92A2-9249CEBF869C}" dt="2024-02-21T05:02:28.462" v="5374" actId="1076"/>
          <ac:spMkLst>
            <pc:docMk/>
            <pc:sldMk cId="867037587" sldId="2146847211"/>
            <ac:spMk id="7" creationId="{238D0DE0-522F-29B0-8202-964439F707B1}"/>
          </ac:spMkLst>
        </pc:spChg>
        <pc:spChg chg="add mod">
          <ac:chgData name="Siddhartha Paul" userId="0f6d2a28-7c6e-4106-a327-1058fe8b7c05" providerId="ADAL" clId="{C15EC1BA-EE25-4672-92A2-9249CEBF869C}" dt="2024-02-22T05:39:22.549" v="10935"/>
          <ac:spMkLst>
            <pc:docMk/>
            <pc:sldMk cId="867037587" sldId="2146847211"/>
            <ac:spMk id="8" creationId="{42FD3360-71A0-4D3B-3BA0-34E2690F13C1}"/>
          </ac:spMkLst>
        </pc:spChg>
        <pc:spChg chg="add del mod">
          <ac:chgData name="Siddhartha Paul" userId="0f6d2a28-7c6e-4106-a327-1058fe8b7c05" providerId="ADAL" clId="{C15EC1BA-EE25-4672-92A2-9249CEBF869C}" dt="2024-02-20T19:53:46.703" v="3259" actId="478"/>
          <ac:spMkLst>
            <pc:docMk/>
            <pc:sldMk cId="867037587" sldId="2146847211"/>
            <ac:spMk id="8" creationId="{4BCEE1F4-EC46-8206-A8BE-4CE3EC45B130}"/>
          </ac:spMkLst>
        </pc:spChg>
        <pc:spChg chg="add del mod">
          <ac:chgData name="Siddhartha Paul" userId="0f6d2a28-7c6e-4106-a327-1058fe8b7c05" providerId="ADAL" clId="{C15EC1BA-EE25-4672-92A2-9249CEBF869C}" dt="2024-02-20T19:44:15.950" v="3040" actId="478"/>
          <ac:spMkLst>
            <pc:docMk/>
            <pc:sldMk cId="867037587" sldId="2146847211"/>
            <ac:spMk id="9" creationId="{3D922E1C-C3C7-A57F-69F2-D8EFF373AE78}"/>
          </ac:spMkLst>
        </pc:spChg>
        <pc:spChg chg="add mod">
          <ac:chgData name="Siddhartha Paul" userId="0f6d2a28-7c6e-4106-a327-1058fe8b7c05" providerId="ADAL" clId="{C15EC1BA-EE25-4672-92A2-9249CEBF869C}" dt="2024-02-22T05:39:22.549" v="10935"/>
          <ac:spMkLst>
            <pc:docMk/>
            <pc:sldMk cId="867037587" sldId="2146847211"/>
            <ac:spMk id="9" creationId="{DB8D0BC2-5618-55B9-3235-A9812BE84536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10" creationId="{F6D64140-1685-B7BE-1AF9-A46EAC360764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11" creationId="{07AFE942-54D7-E14C-D20C-F76E12B9DC99}"/>
          </ac:spMkLst>
        </pc:spChg>
        <pc:spChg chg="add mod">
          <ac:chgData name="Siddhartha Paul" userId="0f6d2a28-7c6e-4106-a327-1058fe8b7c05" providerId="ADAL" clId="{C15EC1BA-EE25-4672-92A2-9249CEBF869C}" dt="2024-02-22T07:04:21.704" v="12167"/>
          <ac:spMkLst>
            <pc:docMk/>
            <pc:sldMk cId="867037587" sldId="2146847211"/>
            <ac:spMk id="12" creationId="{53504D29-0AA9-6FBC-E16E-AFBDFB74CBDE}"/>
          </ac:spMkLst>
        </pc:spChg>
        <pc:spChg chg="add del mod">
          <ac:chgData name="Siddhartha Paul" userId="0f6d2a28-7c6e-4106-a327-1058fe8b7c05" providerId="ADAL" clId="{C15EC1BA-EE25-4672-92A2-9249CEBF869C}" dt="2024-02-20T19:49:05.292" v="3144" actId="478"/>
          <ac:spMkLst>
            <pc:docMk/>
            <pc:sldMk cId="867037587" sldId="2146847211"/>
            <ac:spMk id="12" creationId="{9D4452F7-3DF7-06CB-4A65-06DB2026EBE3}"/>
          </ac:spMkLst>
        </pc:spChg>
        <pc:spChg chg="add del mod">
          <ac:chgData name="Siddhartha Paul" userId="0f6d2a28-7c6e-4106-a327-1058fe8b7c05" providerId="ADAL" clId="{C15EC1BA-EE25-4672-92A2-9249CEBF869C}" dt="2024-02-20T19:49:05.292" v="3144" actId="478"/>
          <ac:spMkLst>
            <pc:docMk/>
            <pc:sldMk cId="867037587" sldId="2146847211"/>
            <ac:spMk id="13" creationId="{714CAFBC-D45B-2BCC-D0B5-77F697D7A603}"/>
          </ac:spMkLst>
        </pc:spChg>
        <pc:spChg chg="add mod">
          <ac:chgData name="Siddhartha Paul" userId="0f6d2a28-7c6e-4106-a327-1058fe8b7c05" providerId="ADAL" clId="{C15EC1BA-EE25-4672-92A2-9249CEBF869C}" dt="2024-02-22T06:55:55.532" v="11875"/>
          <ac:spMkLst>
            <pc:docMk/>
            <pc:sldMk cId="867037587" sldId="2146847211"/>
            <ac:spMk id="13" creationId="{943B10B0-298A-3CB6-4331-CC6CF2F29476}"/>
          </ac:spMkLst>
        </pc:spChg>
        <pc:spChg chg="add del mod">
          <ac:chgData name="Siddhartha Paul" userId="0f6d2a28-7c6e-4106-a327-1058fe8b7c05" providerId="ADAL" clId="{C15EC1BA-EE25-4672-92A2-9249CEBF869C}" dt="2024-02-20T19:49:05.292" v="3144" actId="478"/>
          <ac:spMkLst>
            <pc:docMk/>
            <pc:sldMk cId="867037587" sldId="2146847211"/>
            <ac:spMk id="14" creationId="{ED898697-85F6-8DF7-7C8E-749928765964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15" creationId="{BD918466-6220-186B-123E-1EB1E886545B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16" creationId="{2E3FFDC7-1DCF-57E2-C0FC-8621BA779B17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17" creationId="{0A9E56AC-59BE-62D8-B480-32D54330889C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18" creationId="{94EDEA24-81EE-30A7-C50B-E47F1D2094C8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19" creationId="{360F9146-BFBF-14FB-D820-13435699CDB1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21" creationId="{05D0E83D-BB61-0265-9374-EE903B20A2D3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22" creationId="{3DC848A9-9496-0034-A81B-D312A7393E96}"/>
          </ac:spMkLst>
        </pc:spChg>
        <pc:spChg chg="add del mod">
          <ac:chgData name="Siddhartha Paul" userId="0f6d2a28-7c6e-4106-a327-1058fe8b7c05" providerId="ADAL" clId="{C15EC1BA-EE25-4672-92A2-9249CEBF869C}" dt="2024-02-20T19:57:00.416" v="3297" actId="478"/>
          <ac:spMkLst>
            <pc:docMk/>
            <pc:sldMk cId="867037587" sldId="2146847211"/>
            <ac:spMk id="23" creationId="{F2C7404C-B383-FA85-6777-739A5057509C}"/>
          </ac:spMkLst>
        </pc:spChg>
        <pc:spChg chg="add del mod">
          <ac:chgData name="Siddhartha Paul" userId="0f6d2a28-7c6e-4106-a327-1058fe8b7c05" providerId="ADAL" clId="{C15EC1BA-EE25-4672-92A2-9249CEBF869C}" dt="2024-02-20T19:57:39.647" v="3301" actId="478"/>
          <ac:spMkLst>
            <pc:docMk/>
            <pc:sldMk cId="867037587" sldId="2146847211"/>
            <ac:spMk id="24" creationId="{5BC3DF76-2216-C13A-A26D-48941BBF7D84}"/>
          </ac:spMkLst>
        </pc:spChg>
        <pc:spChg chg="add del mod">
          <ac:chgData name="Siddhartha Paul" userId="0f6d2a28-7c6e-4106-a327-1058fe8b7c05" providerId="ADAL" clId="{C15EC1BA-EE25-4672-92A2-9249CEBF869C}" dt="2024-02-20T19:57:39.647" v="3301" actId="478"/>
          <ac:spMkLst>
            <pc:docMk/>
            <pc:sldMk cId="867037587" sldId="2146847211"/>
            <ac:spMk id="25" creationId="{A7A02CCA-14E1-9DB2-6FBD-62D583013A0D}"/>
          </ac:spMkLst>
        </pc:spChg>
        <pc:spChg chg="add del mod">
          <ac:chgData name="Siddhartha Paul" userId="0f6d2a28-7c6e-4106-a327-1058fe8b7c05" providerId="ADAL" clId="{C15EC1BA-EE25-4672-92A2-9249CEBF869C}" dt="2024-02-20T19:57:39.647" v="3301" actId="478"/>
          <ac:spMkLst>
            <pc:docMk/>
            <pc:sldMk cId="867037587" sldId="2146847211"/>
            <ac:spMk id="26" creationId="{08CBF069-8BAA-8932-9D37-81A2955CE39A}"/>
          </ac:spMkLst>
        </pc:spChg>
        <pc:spChg chg="add del mod">
          <ac:chgData name="Siddhartha Paul" userId="0f6d2a28-7c6e-4106-a327-1058fe8b7c05" providerId="ADAL" clId="{C15EC1BA-EE25-4672-92A2-9249CEBF869C}" dt="2024-02-20T19:57:39.647" v="3301" actId="478"/>
          <ac:spMkLst>
            <pc:docMk/>
            <pc:sldMk cId="867037587" sldId="2146847211"/>
            <ac:spMk id="27" creationId="{D562E4E2-4FC2-6CB4-0DBE-46A427C47EDE}"/>
          </ac:spMkLst>
        </pc:spChg>
        <pc:spChg chg="add del mod">
          <ac:chgData name="Siddhartha Paul" userId="0f6d2a28-7c6e-4106-a327-1058fe8b7c05" providerId="ADAL" clId="{C15EC1BA-EE25-4672-92A2-9249CEBF869C}" dt="2024-02-20T19:57:39.647" v="3301" actId="478"/>
          <ac:spMkLst>
            <pc:docMk/>
            <pc:sldMk cId="867037587" sldId="2146847211"/>
            <ac:spMk id="28" creationId="{C8FDC2C6-FC4C-402E-BF24-949699AD19CB}"/>
          </ac:spMkLst>
        </pc:spChg>
        <pc:spChg chg="add del mod">
          <ac:chgData name="Siddhartha Paul" userId="0f6d2a28-7c6e-4106-a327-1058fe8b7c05" providerId="ADAL" clId="{C15EC1BA-EE25-4672-92A2-9249CEBF869C}" dt="2024-02-20T19:57:39.647" v="3301" actId="478"/>
          <ac:spMkLst>
            <pc:docMk/>
            <pc:sldMk cId="867037587" sldId="2146847211"/>
            <ac:spMk id="29" creationId="{7B2F0B65-AB76-98E9-E271-B581B82E4C07}"/>
          </ac:spMkLst>
        </pc:spChg>
        <pc:spChg chg="add del mod">
          <ac:chgData name="Siddhartha Paul" userId="0f6d2a28-7c6e-4106-a327-1058fe8b7c05" providerId="ADAL" clId="{C15EC1BA-EE25-4672-92A2-9249CEBF869C}" dt="2024-02-20T19:57:39.647" v="3301" actId="478"/>
          <ac:spMkLst>
            <pc:docMk/>
            <pc:sldMk cId="867037587" sldId="2146847211"/>
            <ac:spMk id="30" creationId="{6B55D174-6196-E1B6-5D3B-CC68676A9815}"/>
          </ac:spMkLst>
        </pc:spChg>
        <pc:spChg chg="add del mod">
          <ac:chgData name="Siddhartha Paul" userId="0f6d2a28-7c6e-4106-a327-1058fe8b7c05" providerId="ADAL" clId="{C15EC1BA-EE25-4672-92A2-9249CEBF869C}" dt="2024-02-20T19:56:32.354" v="3289" actId="478"/>
          <ac:spMkLst>
            <pc:docMk/>
            <pc:sldMk cId="867037587" sldId="2146847211"/>
            <ac:spMk id="31" creationId="{EF13258F-AC75-92E0-7827-F23EDB403039}"/>
          </ac:spMkLst>
        </pc:spChg>
        <pc:spChg chg="add del mod">
          <ac:chgData name="Siddhartha Paul" userId="0f6d2a28-7c6e-4106-a327-1058fe8b7c05" providerId="ADAL" clId="{C15EC1BA-EE25-4672-92A2-9249CEBF869C}" dt="2024-02-20T19:56:47.412" v="3293" actId="478"/>
          <ac:spMkLst>
            <pc:docMk/>
            <pc:sldMk cId="867037587" sldId="2146847211"/>
            <ac:spMk id="32" creationId="{E4CD8C34-61B6-EF17-BBC7-8824987814CF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33" creationId="{3AC432ED-D7F1-03B7-2CB0-4D003FEA7800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34" creationId="{E640124F-8CB0-5124-1AFB-188F6616D85F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35" creationId="{3E996384-FEE6-2EDF-D937-8036B57F85F5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36" creationId="{C25FF3A6-4CB4-3214-8757-62258F2B9945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37" creationId="{3CB94971-7B72-112B-B1B7-A07CB5A93C0B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38" creationId="{78160B74-E12D-E1AB-7E53-05D9BAF650D8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39" creationId="{DA40B032-5990-225A-F71B-99745A976917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40" creationId="{01D70C89-ADC0-D888-EF21-B881B20BF12D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46" creationId="{321C2D68-A5C0-494B-48EB-AE85DAA0AA61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47" creationId="{B4F77563-D45F-2340-7DA1-78BD2C0FBBA8}"/>
          </ac:spMkLst>
        </pc:spChg>
        <pc:spChg chg="add del mod">
          <ac:chgData name="Siddhartha Paul" userId="0f6d2a28-7c6e-4106-a327-1058fe8b7c05" providerId="ADAL" clId="{C15EC1BA-EE25-4672-92A2-9249CEBF869C}" dt="2024-02-20T20:04:53.569" v="3539" actId="478"/>
          <ac:spMkLst>
            <pc:docMk/>
            <pc:sldMk cId="867037587" sldId="2146847211"/>
            <ac:spMk id="48" creationId="{31318B90-23F9-F30C-B0A6-7DC9FE8486E6}"/>
          </ac:spMkLst>
        </pc:spChg>
        <pc:spChg chg="add del mod or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49" creationId="{09D9F8EF-5FE7-BFC4-5F46-CC56444002E9}"/>
          </ac:spMkLst>
        </pc:spChg>
        <pc:spChg chg="add del mod">
          <ac:chgData name="Siddhartha Paul" userId="0f6d2a28-7c6e-4106-a327-1058fe8b7c05" providerId="ADAL" clId="{C15EC1BA-EE25-4672-92A2-9249CEBF869C}" dt="2024-02-20T20:03:30.680" v="3452" actId="478"/>
          <ac:spMkLst>
            <pc:docMk/>
            <pc:sldMk cId="867037587" sldId="2146847211"/>
            <ac:spMk id="50" creationId="{6395FC75-A2DC-34C8-AE9D-A8912DC896A1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51" creationId="{71A673B9-125D-9514-19C6-5EFFDC660473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52" creationId="{5F3D51F5-FD70-0036-64ED-B84C679F7CF7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53" creationId="{5EB87542-2454-3181-A510-563A047A6D10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54" creationId="{F73B5736-F8A3-2BD6-FFFE-B78A1BCD8885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55" creationId="{67D3F982-A336-BF79-9230-32427A1442BF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56" creationId="{F3304DCF-F650-A9E5-224C-280D734CD979}"/>
          </ac:spMkLst>
        </pc:spChg>
        <pc:spChg chg="add del mod">
          <ac:chgData name="Siddhartha Paul" userId="0f6d2a28-7c6e-4106-a327-1058fe8b7c05" providerId="ADAL" clId="{C15EC1BA-EE25-4672-92A2-9249CEBF869C}" dt="2024-02-20T20:23:51.149" v="4629" actId="478"/>
          <ac:spMkLst>
            <pc:docMk/>
            <pc:sldMk cId="867037587" sldId="2146847211"/>
            <ac:spMk id="57" creationId="{6471369C-113D-FE1C-9F59-F3CCAB8E0FF5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58" creationId="{9E5BA093-76EC-F7AC-C2C5-9E595CCF5DBE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59" creationId="{F77D600F-0CF8-9849-CE08-5306D63C579A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60" creationId="{BC00AD75-14F8-B347-B32C-A0477D34DDA7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61" creationId="{33083797-D4DD-0939-49D2-13EB8D8D85BC}"/>
          </ac:spMkLst>
        </pc:spChg>
        <pc:spChg chg="add del mod topLvl">
          <ac:chgData name="Siddhartha Paul" userId="0f6d2a28-7c6e-4106-a327-1058fe8b7c05" providerId="ADAL" clId="{C15EC1BA-EE25-4672-92A2-9249CEBF869C}" dt="2024-02-21T05:01:39.474" v="5369" actId="478"/>
          <ac:spMkLst>
            <pc:docMk/>
            <pc:sldMk cId="867037587" sldId="2146847211"/>
            <ac:spMk id="62" creationId="{740ABFD3-4495-F25C-8499-013CF2D8E832}"/>
          </ac:spMkLst>
        </pc:spChg>
        <pc:spChg chg="add mod topLvl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63" creationId="{B0D4D4B6-D751-6C64-0F9A-EC007D824FE8}"/>
          </ac:spMkLst>
        </pc:spChg>
        <pc:spChg chg="add del mod topLvl">
          <ac:chgData name="Siddhartha Paul" userId="0f6d2a28-7c6e-4106-a327-1058fe8b7c05" providerId="ADAL" clId="{C15EC1BA-EE25-4672-92A2-9249CEBF869C}" dt="2024-02-20T20:28:39.024" v="4644" actId="478"/>
          <ac:spMkLst>
            <pc:docMk/>
            <pc:sldMk cId="867037587" sldId="2146847211"/>
            <ac:spMk id="64" creationId="{0BC5EC2F-C0CF-D7D2-2042-7EB9B7ABA3F7}"/>
          </ac:spMkLst>
        </pc:spChg>
        <pc:spChg chg="add del mod">
          <ac:chgData name="Siddhartha Paul" userId="0f6d2a28-7c6e-4106-a327-1058fe8b7c05" providerId="ADAL" clId="{C15EC1BA-EE25-4672-92A2-9249CEBF869C}" dt="2024-02-20T20:27:48.880" v="4634" actId="478"/>
          <ac:spMkLst>
            <pc:docMk/>
            <pc:sldMk cId="867037587" sldId="2146847211"/>
            <ac:spMk id="65" creationId="{1C49C481-809C-CD1A-83BC-51DEAA257037}"/>
          </ac:spMkLst>
        </pc:spChg>
        <pc:spChg chg="add del mod">
          <ac:chgData name="Siddhartha Paul" userId="0f6d2a28-7c6e-4106-a327-1058fe8b7c05" providerId="ADAL" clId="{C15EC1BA-EE25-4672-92A2-9249CEBF869C}" dt="2024-02-22T05:39:26.601" v="10936" actId="478"/>
          <ac:spMkLst>
            <pc:docMk/>
            <pc:sldMk cId="867037587" sldId="2146847211"/>
            <ac:spMk id="66" creationId="{80AEDFBB-EBD6-D38B-2E6F-9393B6634BDD}"/>
          </ac:spMkLst>
        </pc:spChg>
        <pc:spChg chg="add mod">
          <ac:chgData name="Siddhartha Paul" userId="0f6d2a28-7c6e-4106-a327-1058fe8b7c05" providerId="ADAL" clId="{C15EC1BA-EE25-4672-92A2-9249CEBF869C}" dt="2024-02-20T20:31:09.620" v="4667" actId="5793"/>
          <ac:spMkLst>
            <pc:docMk/>
            <pc:sldMk cId="867037587" sldId="2146847211"/>
            <ac:spMk id="81" creationId="{1AA0FDCE-DB75-C2D1-5C7B-5BF8553645DD}"/>
          </ac:spMkLst>
        </pc:spChg>
        <pc:spChg chg="add del mod">
          <ac:chgData name="Siddhartha Paul" userId="0f6d2a28-7c6e-4106-a327-1058fe8b7c05" providerId="ADAL" clId="{C15EC1BA-EE25-4672-92A2-9249CEBF869C}" dt="2024-02-21T05:01:35.691" v="5368" actId="478"/>
          <ac:spMkLst>
            <pc:docMk/>
            <pc:sldMk cId="867037587" sldId="2146847211"/>
            <ac:spMk id="82" creationId="{8EA99FB4-72B4-8F15-7CC2-10F084A40225}"/>
          </ac:spMkLst>
        </pc:spChg>
        <pc:spChg chg="add mod">
          <ac:chgData name="Siddhartha Paul" userId="0f6d2a28-7c6e-4106-a327-1058fe8b7c05" providerId="ADAL" clId="{C15EC1BA-EE25-4672-92A2-9249CEBF869C}" dt="2024-02-21T05:02:45.211" v="5375" actId="1076"/>
          <ac:spMkLst>
            <pc:docMk/>
            <pc:sldMk cId="867037587" sldId="2146847211"/>
            <ac:spMk id="83" creationId="{255D794E-15CF-8604-1447-E1D831613630}"/>
          </ac:spMkLst>
        </pc:spChg>
        <pc:spChg chg="add mod">
          <ac:chgData name="Siddhartha Paul" userId="0f6d2a28-7c6e-4106-a327-1058fe8b7c05" providerId="ADAL" clId="{C15EC1BA-EE25-4672-92A2-9249CEBF869C}" dt="2024-02-21T05:02:57.312" v="5378" actId="1035"/>
          <ac:spMkLst>
            <pc:docMk/>
            <pc:sldMk cId="867037587" sldId="2146847211"/>
            <ac:spMk id="84" creationId="{C527E551-54DC-4228-BD00-2842603357FC}"/>
          </ac:spMkLst>
        </pc:spChg>
        <pc:spChg chg="add del mod">
          <ac:chgData name="Siddhartha Paul" userId="0f6d2a28-7c6e-4106-a327-1058fe8b7c05" providerId="ADAL" clId="{C15EC1BA-EE25-4672-92A2-9249CEBF869C}" dt="2024-02-22T04:32:02.629" v="10286" actId="478"/>
          <ac:spMkLst>
            <pc:docMk/>
            <pc:sldMk cId="867037587" sldId="2146847211"/>
            <ac:spMk id="85" creationId="{1F6B9833-AB55-EB07-110B-883781FC10FD}"/>
          </ac:spMkLst>
        </pc:spChg>
        <pc:spChg chg="add del mod">
          <ac:chgData name="Siddhartha Paul" userId="0f6d2a28-7c6e-4106-a327-1058fe8b7c05" providerId="ADAL" clId="{C15EC1BA-EE25-4672-92A2-9249CEBF869C}" dt="2024-02-22T04:32:00.323" v="10285" actId="478"/>
          <ac:spMkLst>
            <pc:docMk/>
            <pc:sldMk cId="867037587" sldId="2146847211"/>
            <ac:spMk id="86" creationId="{EFF6D46A-597F-4C00-D464-F8CBC3FA14FB}"/>
          </ac:spMkLst>
        </pc:spChg>
        <pc:grpChg chg="add del mod ord">
          <ac:chgData name="Siddhartha Paul" userId="0f6d2a28-7c6e-4106-a327-1058fe8b7c05" providerId="ADAL" clId="{C15EC1BA-EE25-4672-92A2-9249CEBF869C}" dt="2024-02-20T20:28:36.854" v="4643" actId="165"/>
          <ac:grpSpMkLst>
            <pc:docMk/>
            <pc:sldMk cId="867037587" sldId="2146847211"/>
            <ac:grpSpMk id="67" creationId="{B12588E1-522B-80BD-CACF-8F1D91308CC1}"/>
          </ac:grpSpMkLst>
        </pc:grpChg>
        <pc:grpChg chg="add mod">
          <ac:chgData name="Siddhartha Paul" userId="0f6d2a28-7c6e-4106-a327-1058fe8b7c05" providerId="ADAL" clId="{C15EC1BA-EE25-4672-92A2-9249CEBF869C}" dt="2024-02-21T05:02:45.211" v="5375" actId="1076"/>
          <ac:grpSpMkLst>
            <pc:docMk/>
            <pc:sldMk cId="867037587" sldId="2146847211"/>
            <ac:grpSpMk id="71" creationId="{875522B7-D4A1-42B1-E953-9FBEF8AEE6BD}"/>
          </ac:grpSpMkLst>
        </pc:grpChg>
        <pc:grpChg chg="add mod">
          <ac:chgData name="Siddhartha Paul" userId="0f6d2a28-7c6e-4106-a327-1058fe8b7c05" providerId="ADAL" clId="{C15EC1BA-EE25-4672-92A2-9249CEBF869C}" dt="2024-02-21T05:02:45.211" v="5375" actId="1076"/>
          <ac:grpSpMkLst>
            <pc:docMk/>
            <pc:sldMk cId="867037587" sldId="2146847211"/>
            <ac:grpSpMk id="74" creationId="{C0974990-E327-15BE-4634-0022F7B21754}"/>
          </ac:grpSpMkLst>
        </pc:grpChg>
        <pc:cxnChg chg="add mod topLvl">
          <ac:chgData name="Siddhartha Paul" userId="0f6d2a28-7c6e-4106-a327-1058fe8b7c05" providerId="ADAL" clId="{C15EC1BA-EE25-4672-92A2-9249CEBF869C}" dt="2024-02-20T20:28:58.827" v="4647" actId="164"/>
          <ac:cxnSpMkLst>
            <pc:docMk/>
            <pc:sldMk cId="867037587" sldId="2146847211"/>
            <ac:cxnSpMk id="42" creationId="{BE7A9ECB-35B8-7340-6036-2A3506F00E45}"/>
          </ac:cxnSpMkLst>
        </pc:cxnChg>
        <pc:cxnChg chg="add mod topLvl">
          <ac:chgData name="Siddhartha Paul" userId="0f6d2a28-7c6e-4106-a327-1058fe8b7c05" providerId="ADAL" clId="{C15EC1BA-EE25-4672-92A2-9249CEBF869C}" dt="2024-02-20T20:28:58.827" v="4647" actId="164"/>
          <ac:cxnSpMkLst>
            <pc:docMk/>
            <pc:sldMk cId="867037587" sldId="2146847211"/>
            <ac:cxnSpMk id="43" creationId="{EC278C68-E265-BEF0-2444-813C295766AE}"/>
          </ac:cxnSpMkLst>
        </pc:cxnChg>
        <pc:cxnChg chg="add mod topLvl">
          <ac:chgData name="Siddhartha Paul" userId="0f6d2a28-7c6e-4106-a327-1058fe8b7c05" providerId="ADAL" clId="{C15EC1BA-EE25-4672-92A2-9249CEBF869C}" dt="2024-02-20T20:28:58.827" v="4647" actId="164"/>
          <ac:cxnSpMkLst>
            <pc:docMk/>
            <pc:sldMk cId="867037587" sldId="2146847211"/>
            <ac:cxnSpMk id="44" creationId="{E55C34D2-F696-D26C-67E1-76C4CA81F6E6}"/>
          </ac:cxnSpMkLst>
        </pc:cxnChg>
        <pc:cxnChg chg="add del mod">
          <ac:chgData name="Siddhartha Paul" userId="0f6d2a28-7c6e-4106-a327-1058fe8b7c05" providerId="ADAL" clId="{C15EC1BA-EE25-4672-92A2-9249CEBF869C}" dt="2024-02-20T19:59:58.277" v="3360" actId="478"/>
          <ac:cxnSpMkLst>
            <pc:docMk/>
            <pc:sldMk cId="867037587" sldId="2146847211"/>
            <ac:cxnSpMk id="45" creationId="{2EF22F1F-0DDD-632A-27A3-F64FDFC7DDA7}"/>
          </ac:cxnSpMkLst>
        </pc:cxnChg>
        <pc:cxnChg chg="add mod">
          <ac:chgData name="Siddhartha Paul" userId="0f6d2a28-7c6e-4106-a327-1058fe8b7c05" providerId="ADAL" clId="{C15EC1BA-EE25-4672-92A2-9249CEBF869C}" dt="2024-02-20T20:30:02.017" v="4656" actId="208"/>
          <ac:cxnSpMkLst>
            <pc:docMk/>
            <pc:sldMk cId="867037587" sldId="2146847211"/>
            <ac:cxnSpMk id="72" creationId="{CE665325-63FD-81E5-98F8-F0C143F8EE21}"/>
          </ac:cxnSpMkLst>
        </pc:cxnChg>
        <pc:cxnChg chg="add mod">
          <ac:chgData name="Siddhartha Paul" userId="0f6d2a28-7c6e-4106-a327-1058fe8b7c05" providerId="ADAL" clId="{C15EC1BA-EE25-4672-92A2-9249CEBF869C}" dt="2024-02-20T20:29:58.883" v="4655" actId="208"/>
          <ac:cxnSpMkLst>
            <pc:docMk/>
            <pc:sldMk cId="867037587" sldId="2146847211"/>
            <ac:cxnSpMk id="73" creationId="{3920942A-38B2-28DB-8655-1E30ED388348}"/>
          </ac:cxnSpMkLst>
        </pc:cxnChg>
        <pc:cxnChg chg="add del mod">
          <ac:chgData name="Siddhartha Paul" userId="0f6d2a28-7c6e-4106-a327-1058fe8b7c05" providerId="ADAL" clId="{C15EC1BA-EE25-4672-92A2-9249CEBF869C}" dt="2024-02-20T20:30:57.159" v="4662" actId="478"/>
          <ac:cxnSpMkLst>
            <pc:docMk/>
            <pc:sldMk cId="867037587" sldId="2146847211"/>
            <ac:cxnSpMk id="76" creationId="{3A462A70-1651-DB10-137D-6199713CCC78}"/>
          </ac:cxnSpMkLst>
        </pc:cxnChg>
        <pc:cxnChg chg="add del mod">
          <ac:chgData name="Siddhartha Paul" userId="0f6d2a28-7c6e-4106-a327-1058fe8b7c05" providerId="ADAL" clId="{C15EC1BA-EE25-4672-92A2-9249CEBF869C}" dt="2024-02-20T20:31:00.030" v="4663" actId="478"/>
          <ac:cxnSpMkLst>
            <pc:docMk/>
            <pc:sldMk cId="867037587" sldId="2146847211"/>
            <ac:cxnSpMk id="78" creationId="{BB8F0F0F-89A6-CCE2-D7F7-099AA50C4D38}"/>
          </ac:cxnSpMkLst>
        </pc:cxnChg>
      </pc:sldChg>
      <pc:sldChg chg="add del">
        <pc:chgData name="Siddhartha Paul" userId="0f6d2a28-7c6e-4106-a327-1058fe8b7c05" providerId="ADAL" clId="{C15EC1BA-EE25-4672-92A2-9249CEBF869C}" dt="2024-02-20T20:27:14.545" v="4633" actId="47"/>
        <pc:sldMkLst>
          <pc:docMk/>
          <pc:sldMk cId="564652562" sldId="2146847212"/>
        </pc:sldMkLst>
      </pc:sldChg>
      <pc:sldChg chg="addSp delSp modSp add del mod ord delAnim">
        <pc:chgData name="Siddhartha Paul" userId="0f6d2a28-7c6e-4106-a327-1058fe8b7c05" providerId="ADAL" clId="{C15EC1BA-EE25-4672-92A2-9249CEBF869C}" dt="2024-02-21T05:06:20.675" v="5381" actId="47"/>
        <pc:sldMkLst>
          <pc:docMk/>
          <pc:sldMk cId="1354920021" sldId="2146847212"/>
        </pc:sldMkLst>
        <pc:spChg chg="add mod">
          <ac:chgData name="Siddhartha Paul" userId="0f6d2a28-7c6e-4106-a327-1058fe8b7c05" providerId="ADAL" clId="{C15EC1BA-EE25-4672-92A2-9249CEBF869C}" dt="2024-02-20T20:41:30.115" v="4872" actId="1076"/>
          <ac:spMkLst>
            <pc:docMk/>
            <pc:sldMk cId="1354920021" sldId="2146847212"/>
            <ac:spMk id="2" creationId="{BC7B8201-4EE8-C199-4530-CEB7464CF83A}"/>
          </ac:spMkLst>
        </pc:spChg>
        <pc:spChg chg="del">
          <ac:chgData name="Siddhartha Paul" userId="0f6d2a28-7c6e-4106-a327-1058fe8b7c05" providerId="ADAL" clId="{C15EC1BA-EE25-4672-92A2-9249CEBF869C}" dt="2024-02-20T20:35:57.870" v="4812" actId="478"/>
          <ac:spMkLst>
            <pc:docMk/>
            <pc:sldMk cId="1354920021" sldId="2146847212"/>
            <ac:spMk id="3" creationId="{4C4123E2-6688-3177-7F67-EC77BEFE0F27}"/>
          </ac:spMkLst>
        </pc:spChg>
        <pc:spChg chg="add mod">
          <ac:chgData name="Siddhartha Paul" userId="0f6d2a28-7c6e-4106-a327-1058fe8b7c05" providerId="ADAL" clId="{C15EC1BA-EE25-4672-92A2-9249CEBF869C}" dt="2024-02-20T20:41:30.115" v="4872" actId="1076"/>
          <ac:spMkLst>
            <pc:docMk/>
            <pc:sldMk cId="1354920021" sldId="2146847212"/>
            <ac:spMk id="4" creationId="{13493189-9363-7F07-52D3-5CA4D6B841D7}"/>
          </ac:spMkLst>
        </pc:spChg>
        <pc:spChg chg="del">
          <ac:chgData name="Siddhartha Paul" userId="0f6d2a28-7c6e-4106-a327-1058fe8b7c05" providerId="ADAL" clId="{C15EC1BA-EE25-4672-92A2-9249CEBF869C}" dt="2024-02-20T20:35:57.870" v="4812" actId="478"/>
          <ac:spMkLst>
            <pc:docMk/>
            <pc:sldMk cId="1354920021" sldId="2146847212"/>
            <ac:spMk id="5" creationId="{1C337CAB-7AB9-9112-6D24-07E5E1038366}"/>
          </ac:spMkLst>
        </pc:spChg>
        <pc:spChg chg="mod">
          <ac:chgData name="Siddhartha Paul" userId="0f6d2a28-7c6e-4106-a327-1058fe8b7c05" providerId="ADAL" clId="{C15EC1BA-EE25-4672-92A2-9249CEBF869C}" dt="2024-02-20T20:41:59.003" v="4903" actId="20577"/>
          <ac:spMkLst>
            <pc:docMk/>
            <pc:sldMk cId="1354920021" sldId="2146847212"/>
            <ac:spMk id="7" creationId="{238D0DE0-522F-29B0-8202-964439F707B1}"/>
          </ac:spMkLst>
        </pc:spChg>
        <pc:spChg chg="mod">
          <ac:chgData name="Siddhartha Paul" userId="0f6d2a28-7c6e-4106-a327-1058fe8b7c05" providerId="ADAL" clId="{C15EC1BA-EE25-4672-92A2-9249CEBF869C}" dt="2024-02-20T20:42:22.230" v="4939" actId="20577"/>
          <ac:spMkLst>
            <pc:docMk/>
            <pc:sldMk cId="1354920021" sldId="2146847212"/>
            <ac:spMk id="12" creationId="{81AF1D09-5C53-5618-D3EE-4BA63337A2D7}"/>
          </ac:spMkLst>
        </pc:spChg>
        <pc:spChg chg="add mod">
          <ac:chgData name="Siddhartha Paul" userId="0f6d2a28-7c6e-4106-a327-1058fe8b7c05" providerId="ADAL" clId="{C15EC1BA-EE25-4672-92A2-9249CEBF869C}" dt="2024-02-20T20:42:12.009" v="4906" actId="1076"/>
          <ac:spMkLst>
            <pc:docMk/>
            <pc:sldMk cId="1354920021" sldId="2146847212"/>
            <ac:spMk id="26" creationId="{505D9EBD-3675-449B-4843-35350D69A4F4}"/>
          </ac:spMkLst>
        </pc:spChg>
        <pc:spChg chg="add mod">
          <ac:chgData name="Siddhartha Paul" userId="0f6d2a28-7c6e-4106-a327-1058fe8b7c05" providerId="ADAL" clId="{C15EC1BA-EE25-4672-92A2-9249CEBF869C}" dt="2024-02-20T20:42:08.160" v="4905" actId="1035"/>
          <ac:spMkLst>
            <pc:docMk/>
            <pc:sldMk cId="1354920021" sldId="2146847212"/>
            <ac:spMk id="27" creationId="{8B3989F6-4F94-824E-954E-16A2AE1498D2}"/>
          </ac:spMkLst>
        </pc:spChg>
        <pc:spChg chg="del">
          <ac:chgData name="Siddhartha Paul" userId="0f6d2a28-7c6e-4106-a327-1058fe8b7c05" providerId="ADAL" clId="{C15EC1BA-EE25-4672-92A2-9249CEBF869C}" dt="2024-02-20T20:35:57.870" v="4812" actId="478"/>
          <ac:spMkLst>
            <pc:docMk/>
            <pc:sldMk cId="1354920021" sldId="2146847212"/>
            <ac:spMk id="2151" creationId="{0C0D5D41-26A0-4C46-F04B-21E280AF51AB}"/>
          </ac:spMkLst>
        </pc:spChg>
        <pc:spChg chg="del">
          <ac:chgData name="Siddhartha Paul" userId="0f6d2a28-7c6e-4106-a327-1058fe8b7c05" providerId="ADAL" clId="{C15EC1BA-EE25-4672-92A2-9249CEBF869C}" dt="2024-02-20T20:35:57.870" v="4812" actId="478"/>
          <ac:spMkLst>
            <pc:docMk/>
            <pc:sldMk cId="1354920021" sldId="2146847212"/>
            <ac:spMk id="2152" creationId="{AD3F0538-B6CC-4D11-CF3D-23224D010476}"/>
          </ac:spMkLst>
        </pc:spChg>
        <pc:spChg chg="del">
          <ac:chgData name="Siddhartha Paul" userId="0f6d2a28-7c6e-4106-a327-1058fe8b7c05" providerId="ADAL" clId="{C15EC1BA-EE25-4672-92A2-9249CEBF869C}" dt="2024-02-20T20:35:57.870" v="4812" actId="478"/>
          <ac:spMkLst>
            <pc:docMk/>
            <pc:sldMk cId="1354920021" sldId="2146847212"/>
            <ac:spMk id="2154" creationId="{5E798D27-111A-753C-69FF-C2D7A8C7E44A}"/>
          </ac:spMkLst>
        </pc:spChg>
        <pc:spChg chg="del">
          <ac:chgData name="Siddhartha Paul" userId="0f6d2a28-7c6e-4106-a327-1058fe8b7c05" providerId="ADAL" clId="{C15EC1BA-EE25-4672-92A2-9249CEBF869C}" dt="2024-02-20T20:35:57.870" v="4812" actId="478"/>
          <ac:spMkLst>
            <pc:docMk/>
            <pc:sldMk cId="1354920021" sldId="2146847212"/>
            <ac:spMk id="2156" creationId="{5B98EADD-FA07-2AE5-59C9-B7645DB40A52}"/>
          </ac:spMkLst>
        </pc:spChg>
        <pc:spChg chg="del">
          <ac:chgData name="Siddhartha Paul" userId="0f6d2a28-7c6e-4106-a327-1058fe8b7c05" providerId="ADAL" clId="{C15EC1BA-EE25-4672-92A2-9249CEBF869C}" dt="2024-02-20T20:35:57.870" v="4812" actId="478"/>
          <ac:spMkLst>
            <pc:docMk/>
            <pc:sldMk cId="1354920021" sldId="2146847212"/>
            <ac:spMk id="2158" creationId="{C98FD8BC-EBFB-5900-EB85-0C4C118C96F5}"/>
          </ac:spMkLst>
        </pc:spChg>
        <pc:spChg chg="del">
          <ac:chgData name="Siddhartha Paul" userId="0f6d2a28-7c6e-4106-a327-1058fe8b7c05" providerId="ADAL" clId="{C15EC1BA-EE25-4672-92A2-9249CEBF869C}" dt="2024-02-20T20:35:57.870" v="4812" actId="478"/>
          <ac:spMkLst>
            <pc:docMk/>
            <pc:sldMk cId="1354920021" sldId="2146847212"/>
            <ac:spMk id="2159" creationId="{794B5CD0-D50D-FFE0-052F-850904BC9AEE}"/>
          </ac:spMkLst>
        </pc:spChg>
        <pc:spChg chg="del">
          <ac:chgData name="Siddhartha Paul" userId="0f6d2a28-7c6e-4106-a327-1058fe8b7c05" providerId="ADAL" clId="{C15EC1BA-EE25-4672-92A2-9249CEBF869C}" dt="2024-02-20T20:35:57.870" v="4812" actId="478"/>
          <ac:spMkLst>
            <pc:docMk/>
            <pc:sldMk cId="1354920021" sldId="2146847212"/>
            <ac:spMk id="2160" creationId="{36C81556-AAFB-4AFF-66E0-FDFE747464D4}"/>
          </ac:spMkLst>
        </pc:spChg>
        <pc:spChg chg="del">
          <ac:chgData name="Siddhartha Paul" userId="0f6d2a28-7c6e-4106-a327-1058fe8b7c05" providerId="ADAL" clId="{C15EC1BA-EE25-4672-92A2-9249CEBF869C}" dt="2024-02-20T20:35:57.870" v="4812" actId="478"/>
          <ac:spMkLst>
            <pc:docMk/>
            <pc:sldMk cId="1354920021" sldId="2146847212"/>
            <ac:spMk id="2161" creationId="{28341C35-7BEE-D78C-2CAC-A4CF2B07C36B}"/>
          </ac:spMkLst>
        </pc:spChg>
        <pc:grpChg chg="del">
          <ac:chgData name="Siddhartha Paul" userId="0f6d2a28-7c6e-4106-a327-1058fe8b7c05" providerId="ADAL" clId="{C15EC1BA-EE25-4672-92A2-9249CEBF869C}" dt="2024-02-20T20:35:57.870" v="4812" actId="478"/>
          <ac:grpSpMkLst>
            <pc:docMk/>
            <pc:sldMk cId="1354920021" sldId="2146847212"/>
            <ac:grpSpMk id="6" creationId="{2D7350F7-78BE-EB48-9D80-A79F0D05FCE3}"/>
          </ac:grpSpMkLst>
        </pc:grpChg>
        <pc:grpChg chg="del">
          <ac:chgData name="Siddhartha Paul" userId="0f6d2a28-7c6e-4106-a327-1058fe8b7c05" providerId="ADAL" clId="{C15EC1BA-EE25-4672-92A2-9249CEBF869C}" dt="2024-02-20T20:35:57.870" v="4812" actId="478"/>
          <ac:grpSpMkLst>
            <pc:docMk/>
            <pc:sldMk cId="1354920021" sldId="2146847212"/>
            <ac:grpSpMk id="2048" creationId="{BEFD7326-623B-2BD6-CA20-74B593D502C8}"/>
          </ac:grpSpMkLst>
        </pc:grpChg>
        <pc:grpChg chg="del">
          <ac:chgData name="Siddhartha Paul" userId="0f6d2a28-7c6e-4106-a327-1058fe8b7c05" providerId="ADAL" clId="{C15EC1BA-EE25-4672-92A2-9249CEBF869C}" dt="2024-02-20T20:35:57.870" v="4812" actId="478"/>
          <ac:grpSpMkLst>
            <pc:docMk/>
            <pc:sldMk cId="1354920021" sldId="2146847212"/>
            <ac:grpSpMk id="2098" creationId="{D260B70C-6D58-491F-DB79-83B3C9AB8655}"/>
          </ac:grpSpMkLst>
        </pc:grpChg>
        <pc:grpChg chg="del">
          <ac:chgData name="Siddhartha Paul" userId="0f6d2a28-7c6e-4106-a327-1058fe8b7c05" providerId="ADAL" clId="{C15EC1BA-EE25-4672-92A2-9249CEBF869C}" dt="2024-02-20T20:35:57.870" v="4812" actId="478"/>
          <ac:grpSpMkLst>
            <pc:docMk/>
            <pc:sldMk cId="1354920021" sldId="2146847212"/>
            <ac:grpSpMk id="2172" creationId="{15F1F768-E30C-7EBC-A27A-2C2395492070}"/>
          </ac:grpSpMkLst>
        </pc:grpChg>
      </pc:sldChg>
      <pc:sldChg chg="add del ord">
        <pc:chgData name="Siddhartha Paul" userId="0f6d2a28-7c6e-4106-a327-1058fe8b7c05" providerId="ADAL" clId="{C15EC1BA-EE25-4672-92A2-9249CEBF869C}" dt="2024-02-20T20:35:52.259" v="4810" actId="47"/>
        <pc:sldMkLst>
          <pc:docMk/>
          <pc:sldMk cId="717287198" sldId="2146847213"/>
        </pc:sldMkLst>
      </pc:sldChg>
      <pc:sldChg chg="addSp delSp modSp add mod ord">
        <pc:chgData name="Siddhartha Paul" userId="0f6d2a28-7c6e-4106-a327-1058fe8b7c05" providerId="ADAL" clId="{C15EC1BA-EE25-4672-92A2-9249CEBF869C}" dt="2024-02-22T07:04:25.833" v="12168"/>
        <pc:sldMkLst>
          <pc:docMk/>
          <pc:sldMk cId="2903802295" sldId="2146847213"/>
        </pc:sldMkLst>
        <pc:spChg chg="del">
          <ac:chgData name="Siddhartha Paul" userId="0f6d2a28-7c6e-4106-a327-1058fe8b7c05" providerId="ADAL" clId="{C15EC1BA-EE25-4672-92A2-9249CEBF869C}" dt="2024-02-20T20:42:46.860" v="4943" actId="478"/>
          <ac:spMkLst>
            <pc:docMk/>
            <pc:sldMk cId="2903802295" sldId="2146847213"/>
            <ac:spMk id="2" creationId="{BC7B8201-4EE8-C199-4530-CEB7464CF83A}"/>
          </ac:spMkLst>
        </pc:spChg>
        <pc:spChg chg="add mod topLvl">
          <ac:chgData name="Siddhartha Paul" userId="0f6d2a28-7c6e-4106-a327-1058fe8b7c05" providerId="ADAL" clId="{C15EC1BA-EE25-4672-92A2-9249CEBF869C}" dt="2024-02-21T10:58:27.015" v="10116" actId="1582"/>
          <ac:spMkLst>
            <pc:docMk/>
            <pc:sldMk cId="2903802295" sldId="2146847213"/>
            <ac:spMk id="3" creationId="{DB177C00-1DDB-49CE-EF3D-2C44AE54A1E1}"/>
          </ac:spMkLst>
        </pc:spChg>
        <pc:spChg chg="del">
          <ac:chgData name="Siddhartha Paul" userId="0f6d2a28-7c6e-4106-a327-1058fe8b7c05" providerId="ADAL" clId="{C15EC1BA-EE25-4672-92A2-9249CEBF869C}" dt="2024-02-20T20:42:46.860" v="4943" actId="478"/>
          <ac:spMkLst>
            <pc:docMk/>
            <pc:sldMk cId="2903802295" sldId="2146847213"/>
            <ac:spMk id="4" creationId="{13493189-9363-7F07-52D3-5CA4D6B841D7}"/>
          </ac:spMkLst>
        </pc:spChg>
        <pc:spChg chg="add mod topLvl">
          <ac:chgData name="Siddhartha Paul" userId="0f6d2a28-7c6e-4106-a327-1058fe8b7c05" providerId="ADAL" clId="{C15EC1BA-EE25-4672-92A2-9249CEBF869C}" dt="2024-02-21T10:58:27.015" v="10116" actId="1582"/>
          <ac:spMkLst>
            <pc:docMk/>
            <pc:sldMk cId="2903802295" sldId="2146847213"/>
            <ac:spMk id="4" creationId="{16047C0E-05AA-A3D6-1D76-49E82E42B14E}"/>
          </ac:spMkLst>
        </pc:spChg>
        <pc:spChg chg="add del mod">
          <ac:chgData name="Siddhartha Paul" userId="0f6d2a28-7c6e-4106-a327-1058fe8b7c05" providerId="ADAL" clId="{C15EC1BA-EE25-4672-92A2-9249CEBF869C}" dt="2024-02-21T10:39:58.652" v="9648" actId="478"/>
          <ac:spMkLst>
            <pc:docMk/>
            <pc:sldMk cId="2903802295" sldId="2146847213"/>
            <ac:spMk id="5" creationId="{A19D8E4B-1CAC-1CD9-F27F-6ABA592C5EBE}"/>
          </ac:spMkLst>
        </pc:spChg>
        <pc:spChg chg="add mod">
          <ac:chgData name="Siddhartha Paul" userId="0f6d2a28-7c6e-4106-a327-1058fe8b7c05" providerId="ADAL" clId="{C15EC1BA-EE25-4672-92A2-9249CEBF869C}" dt="2024-02-20T20:43:50.754" v="4982" actId="108"/>
          <ac:spMkLst>
            <pc:docMk/>
            <pc:sldMk cId="2903802295" sldId="2146847213"/>
            <ac:spMk id="6" creationId="{FF1FB6B2-BC49-1275-57BE-230B8E433B6E}"/>
          </ac:spMkLst>
        </pc:spChg>
        <pc:spChg chg="del">
          <ac:chgData name="Siddhartha Paul" userId="0f6d2a28-7c6e-4106-a327-1058fe8b7c05" providerId="ADAL" clId="{C15EC1BA-EE25-4672-92A2-9249CEBF869C}" dt="2024-02-20T20:42:38.355" v="4942" actId="478"/>
          <ac:spMkLst>
            <pc:docMk/>
            <pc:sldMk cId="2903802295" sldId="2146847213"/>
            <ac:spMk id="7" creationId="{238D0DE0-522F-29B0-8202-964439F707B1}"/>
          </ac:spMkLst>
        </pc:spChg>
        <pc:spChg chg="add mod topLvl">
          <ac:chgData name="Siddhartha Paul" userId="0f6d2a28-7c6e-4106-a327-1058fe8b7c05" providerId="ADAL" clId="{C15EC1BA-EE25-4672-92A2-9249CEBF869C}" dt="2024-02-21T10:58:27.015" v="10116" actId="1582"/>
          <ac:spMkLst>
            <pc:docMk/>
            <pc:sldMk cId="2903802295" sldId="2146847213"/>
            <ac:spMk id="7" creationId="{9C5D9EF5-B6D6-9F2E-5445-410609D8634A}"/>
          </ac:spMkLst>
        </pc:spChg>
        <pc:spChg chg="add del mod">
          <ac:chgData name="Siddhartha Paul" userId="0f6d2a28-7c6e-4106-a327-1058fe8b7c05" providerId="ADAL" clId="{C15EC1BA-EE25-4672-92A2-9249CEBF869C}" dt="2024-02-22T04:31:54.740" v="10283" actId="478"/>
          <ac:spMkLst>
            <pc:docMk/>
            <pc:sldMk cId="2903802295" sldId="2146847213"/>
            <ac:spMk id="8" creationId="{74486779-10AE-89AD-B2E7-96EEBE1FD73F}"/>
          </ac:spMkLst>
        </pc:spChg>
        <pc:spChg chg="add del mod ord">
          <ac:chgData name="Siddhartha Paul" userId="0f6d2a28-7c6e-4106-a327-1058fe8b7c05" providerId="ADAL" clId="{C15EC1BA-EE25-4672-92A2-9249CEBF869C}" dt="2024-02-21T10:41:40.274" v="9716" actId="478"/>
          <ac:spMkLst>
            <pc:docMk/>
            <pc:sldMk cId="2903802295" sldId="2146847213"/>
            <ac:spMk id="9" creationId="{73377920-4B48-C128-B16A-77FB127465AA}"/>
          </ac:spMkLst>
        </pc:spChg>
        <pc:spChg chg="add mod">
          <ac:chgData name="Siddhartha Paul" userId="0f6d2a28-7c6e-4106-a327-1058fe8b7c05" providerId="ADAL" clId="{C15EC1BA-EE25-4672-92A2-9249CEBF869C}" dt="2024-02-21T10:51:46.652" v="10100" actId="113"/>
          <ac:spMkLst>
            <pc:docMk/>
            <pc:sldMk cId="2903802295" sldId="2146847213"/>
            <ac:spMk id="11" creationId="{D639B43F-DC06-1ACF-A019-0741412539E8}"/>
          </ac:spMkLst>
        </pc:spChg>
        <pc:spChg chg="del">
          <ac:chgData name="Siddhartha Paul" userId="0f6d2a28-7c6e-4106-a327-1058fe8b7c05" providerId="ADAL" clId="{C15EC1BA-EE25-4672-92A2-9249CEBF869C}" dt="2024-02-20T20:42:49.621" v="4944" actId="478"/>
          <ac:spMkLst>
            <pc:docMk/>
            <pc:sldMk cId="2903802295" sldId="2146847213"/>
            <ac:spMk id="12" creationId="{81AF1D09-5C53-5618-D3EE-4BA63337A2D7}"/>
          </ac:spMkLst>
        </pc:spChg>
        <pc:spChg chg="add mod">
          <ac:chgData name="Siddhartha Paul" userId="0f6d2a28-7c6e-4106-a327-1058fe8b7c05" providerId="ADAL" clId="{C15EC1BA-EE25-4672-92A2-9249CEBF869C}" dt="2024-02-21T10:52:52.082" v="10112" actId="20577"/>
          <ac:spMkLst>
            <pc:docMk/>
            <pc:sldMk cId="2903802295" sldId="2146847213"/>
            <ac:spMk id="12" creationId="{FC27EF37-52E2-B770-DD7B-B700DC7181DF}"/>
          </ac:spMkLst>
        </pc:spChg>
        <pc:spChg chg="add mod">
          <ac:chgData name="Siddhartha Paul" userId="0f6d2a28-7c6e-4106-a327-1058fe8b7c05" providerId="ADAL" clId="{C15EC1BA-EE25-4672-92A2-9249CEBF869C}" dt="2024-02-22T06:13:32.835" v="11468" actId="20577"/>
          <ac:spMkLst>
            <pc:docMk/>
            <pc:sldMk cId="2903802295" sldId="2146847213"/>
            <ac:spMk id="13" creationId="{9F62C66D-4079-FF6F-7AF7-55A4E76112FB}"/>
          </ac:spMkLst>
        </pc:spChg>
        <pc:spChg chg="add mod">
          <ac:chgData name="Siddhartha Paul" userId="0f6d2a28-7c6e-4106-a327-1058fe8b7c05" providerId="ADAL" clId="{C15EC1BA-EE25-4672-92A2-9249CEBF869C}" dt="2024-02-21T10:52:32.239" v="10107" actId="1035"/>
          <ac:spMkLst>
            <pc:docMk/>
            <pc:sldMk cId="2903802295" sldId="2146847213"/>
            <ac:spMk id="14" creationId="{CA27F8F9-AA8D-453F-52DC-B97008AE825C}"/>
          </ac:spMkLst>
        </pc:spChg>
        <pc:spChg chg="add mod">
          <ac:chgData name="Siddhartha Paul" userId="0f6d2a28-7c6e-4106-a327-1058fe8b7c05" providerId="ADAL" clId="{C15EC1BA-EE25-4672-92A2-9249CEBF869C}" dt="2024-02-22T06:13:50.578" v="11488" actId="20577"/>
          <ac:spMkLst>
            <pc:docMk/>
            <pc:sldMk cId="2903802295" sldId="2146847213"/>
            <ac:spMk id="15" creationId="{8F9A8ABF-D5E5-A105-1C52-BDC5BBC20701}"/>
          </ac:spMkLst>
        </pc:spChg>
        <pc:spChg chg="add mod">
          <ac:chgData name="Siddhartha Paul" userId="0f6d2a28-7c6e-4106-a327-1058fe8b7c05" providerId="ADAL" clId="{C15EC1BA-EE25-4672-92A2-9249CEBF869C}" dt="2024-02-21T10:52:36.315" v="10109" actId="1035"/>
          <ac:spMkLst>
            <pc:docMk/>
            <pc:sldMk cId="2903802295" sldId="2146847213"/>
            <ac:spMk id="16" creationId="{F9B6D36A-17C6-888A-77C6-44645C3949D3}"/>
          </ac:spMkLst>
        </pc:spChg>
        <pc:spChg chg="add mod">
          <ac:chgData name="Siddhartha Paul" userId="0f6d2a28-7c6e-4106-a327-1058fe8b7c05" providerId="ADAL" clId="{C15EC1BA-EE25-4672-92A2-9249CEBF869C}" dt="2024-02-21T13:02:48.213" v="10268" actId="20577"/>
          <ac:spMkLst>
            <pc:docMk/>
            <pc:sldMk cId="2903802295" sldId="2146847213"/>
            <ac:spMk id="18" creationId="{6630C8FD-1132-D5BE-3C7F-637E7A0C51CD}"/>
          </ac:spMkLst>
        </pc:spChg>
        <pc:spChg chg="add mod">
          <ac:chgData name="Siddhartha Paul" userId="0f6d2a28-7c6e-4106-a327-1058fe8b7c05" providerId="ADAL" clId="{C15EC1BA-EE25-4672-92A2-9249CEBF869C}" dt="2024-02-22T05:38:46.700" v="10932" actId="1036"/>
          <ac:spMkLst>
            <pc:docMk/>
            <pc:sldMk cId="2903802295" sldId="2146847213"/>
            <ac:spMk id="19" creationId="{44BF1384-2BAC-A859-EFBE-DCCBA0415F35}"/>
          </ac:spMkLst>
        </pc:spChg>
        <pc:spChg chg="add mod">
          <ac:chgData name="Siddhartha Paul" userId="0f6d2a28-7c6e-4106-a327-1058fe8b7c05" providerId="ADAL" clId="{C15EC1BA-EE25-4672-92A2-9249CEBF869C}" dt="2024-02-22T05:37:47.870" v="10916"/>
          <ac:spMkLst>
            <pc:docMk/>
            <pc:sldMk cId="2903802295" sldId="2146847213"/>
            <ac:spMk id="20" creationId="{528FC835-F1E2-C8D1-D8B5-A0A5A7D4F9B5}"/>
          </ac:spMkLst>
        </pc:spChg>
        <pc:spChg chg="add mod">
          <ac:chgData name="Siddhartha Paul" userId="0f6d2a28-7c6e-4106-a327-1058fe8b7c05" providerId="ADAL" clId="{C15EC1BA-EE25-4672-92A2-9249CEBF869C}" dt="2024-02-22T05:37:47.870" v="10916"/>
          <ac:spMkLst>
            <pc:docMk/>
            <pc:sldMk cId="2903802295" sldId="2146847213"/>
            <ac:spMk id="21" creationId="{0F4BEF82-8318-4A7F-C26F-FF3CB3CEC920}"/>
          </ac:spMkLst>
        </pc:spChg>
        <pc:spChg chg="add mod">
          <ac:chgData name="Siddhartha Paul" userId="0f6d2a28-7c6e-4106-a327-1058fe8b7c05" providerId="ADAL" clId="{C15EC1BA-EE25-4672-92A2-9249CEBF869C}" dt="2024-02-22T05:37:47.870" v="10916"/>
          <ac:spMkLst>
            <pc:docMk/>
            <pc:sldMk cId="2903802295" sldId="2146847213"/>
            <ac:spMk id="22" creationId="{B7032282-E8E5-230F-710A-2F507B45B4AA}"/>
          </ac:spMkLst>
        </pc:spChg>
        <pc:spChg chg="add mod">
          <ac:chgData name="Siddhartha Paul" userId="0f6d2a28-7c6e-4106-a327-1058fe8b7c05" providerId="ADAL" clId="{C15EC1BA-EE25-4672-92A2-9249CEBF869C}" dt="2024-02-22T05:37:47.870" v="10916"/>
          <ac:spMkLst>
            <pc:docMk/>
            <pc:sldMk cId="2903802295" sldId="2146847213"/>
            <ac:spMk id="23" creationId="{3EE03027-676F-372D-4F41-CC9EBC0D3E83}"/>
          </ac:spMkLst>
        </pc:spChg>
        <pc:spChg chg="del">
          <ac:chgData name="Siddhartha Paul" userId="0f6d2a28-7c6e-4106-a327-1058fe8b7c05" providerId="ADAL" clId="{C15EC1BA-EE25-4672-92A2-9249CEBF869C}" dt="2024-02-22T04:31:57.010" v="10284" actId="478"/>
          <ac:spMkLst>
            <pc:docMk/>
            <pc:sldMk cId="2903802295" sldId="2146847213"/>
            <ac:spMk id="24" creationId="{E2F99286-F64D-E5B0-A5EE-8CB16F216C58}"/>
          </ac:spMkLst>
        </pc:spChg>
        <pc:spChg chg="add mod">
          <ac:chgData name="Siddhartha Paul" userId="0f6d2a28-7c6e-4106-a327-1058fe8b7c05" providerId="ADAL" clId="{C15EC1BA-EE25-4672-92A2-9249CEBF869C}" dt="2024-02-22T05:37:47.870" v="10916"/>
          <ac:spMkLst>
            <pc:docMk/>
            <pc:sldMk cId="2903802295" sldId="2146847213"/>
            <ac:spMk id="25" creationId="{C29232F2-B7E8-5408-8DF2-05B58A0FA3A0}"/>
          </ac:spMkLst>
        </pc:spChg>
        <pc:spChg chg="add mod">
          <ac:chgData name="Siddhartha Paul" userId="0f6d2a28-7c6e-4106-a327-1058fe8b7c05" providerId="ADAL" clId="{C15EC1BA-EE25-4672-92A2-9249CEBF869C}" dt="2024-02-22T05:37:47.870" v="10916"/>
          <ac:spMkLst>
            <pc:docMk/>
            <pc:sldMk cId="2903802295" sldId="2146847213"/>
            <ac:spMk id="26" creationId="{189580DE-04F4-3B46-6A22-A4D614429910}"/>
          </ac:spMkLst>
        </pc:spChg>
        <pc:spChg chg="del">
          <ac:chgData name="Siddhartha Paul" userId="0f6d2a28-7c6e-4106-a327-1058fe8b7c05" providerId="ADAL" clId="{C15EC1BA-EE25-4672-92A2-9249CEBF869C}" dt="2024-02-20T20:42:46.860" v="4943" actId="478"/>
          <ac:spMkLst>
            <pc:docMk/>
            <pc:sldMk cId="2903802295" sldId="2146847213"/>
            <ac:spMk id="26" creationId="{505D9EBD-3675-449B-4843-35350D69A4F4}"/>
          </ac:spMkLst>
        </pc:spChg>
        <pc:spChg chg="add del mod">
          <ac:chgData name="Siddhartha Paul" userId="0f6d2a28-7c6e-4106-a327-1058fe8b7c05" providerId="ADAL" clId="{C15EC1BA-EE25-4672-92A2-9249CEBF869C}" dt="2024-02-22T06:55:58.438" v="11876" actId="478"/>
          <ac:spMkLst>
            <pc:docMk/>
            <pc:sldMk cId="2903802295" sldId="2146847213"/>
            <ac:spMk id="27" creationId="{29D3A9DC-7D9D-0713-F2F4-C9EBA143C991}"/>
          </ac:spMkLst>
        </pc:spChg>
        <pc:spChg chg="del">
          <ac:chgData name="Siddhartha Paul" userId="0f6d2a28-7c6e-4106-a327-1058fe8b7c05" providerId="ADAL" clId="{C15EC1BA-EE25-4672-92A2-9249CEBF869C}" dt="2024-02-20T20:42:46.860" v="4943" actId="478"/>
          <ac:spMkLst>
            <pc:docMk/>
            <pc:sldMk cId="2903802295" sldId="2146847213"/>
            <ac:spMk id="27" creationId="{8B3989F6-4F94-824E-954E-16A2AE1498D2}"/>
          </ac:spMkLst>
        </pc:spChg>
        <pc:spChg chg="add del mod">
          <ac:chgData name="Siddhartha Paul" userId="0f6d2a28-7c6e-4106-a327-1058fe8b7c05" providerId="ADAL" clId="{C15EC1BA-EE25-4672-92A2-9249CEBF869C}" dt="2024-02-22T06:20:58.197" v="11514" actId="478"/>
          <ac:spMkLst>
            <pc:docMk/>
            <pc:sldMk cId="2903802295" sldId="2146847213"/>
            <ac:spMk id="28" creationId="{41BE31DB-8C30-F3D2-2E97-639CEE6D31FE}"/>
          </ac:spMkLst>
        </pc:spChg>
        <pc:spChg chg="add mod">
          <ac:chgData name="Siddhartha Paul" userId="0f6d2a28-7c6e-4106-a327-1058fe8b7c05" providerId="ADAL" clId="{C15EC1BA-EE25-4672-92A2-9249CEBF869C}" dt="2024-02-22T05:38:35.161" v="10921"/>
          <ac:spMkLst>
            <pc:docMk/>
            <pc:sldMk cId="2903802295" sldId="2146847213"/>
            <ac:spMk id="29" creationId="{1A252EF8-7F2F-E2A7-FC1C-830284996FFD}"/>
          </ac:spMkLst>
        </pc:spChg>
        <pc:spChg chg="add mod">
          <ac:chgData name="Siddhartha Paul" userId="0f6d2a28-7c6e-4106-a327-1058fe8b7c05" providerId="ADAL" clId="{C15EC1BA-EE25-4672-92A2-9249CEBF869C}" dt="2024-02-22T05:38:35.161" v="10921"/>
          <ac:spMkLst>
            <pc:docMk/>
            <pc:sldMk cId="2903802295" sldId="2146847213"/>
            <ac:spMk id="30" creationId="{483013FD-509B-8134-9E2D-8E3038CD6DBC}"/>
          </ac:spMkLst>
        </pc:spChg>
        <pc:spChg chg="add mod">
          <ac:chgData name="Siddhartha Paul" userId="0f6d2a28-7c6e-4106-a327-1058fe8b7c05" providerId="ADAL" clId="{C15EC1BA-EE25-4672-92A2-9249CEBF869C}" dt="2024-02-22T05:38:35.161" v="10921"/>
          <ac:spMkLst>
            <pc:docMk/>
            <pc:sldMk cId="2903802295" sldId="2146847213"/>
            <ac:spMk id="31" creationId="{CA07DBE8-6C01-A560-6A68-3FEB3CAD39D9}"/>
          </ac:spMkLst>
        </pc:spChg>
        <pc:spChg chg="add mod">
          <ac:chgData name="Siddhartha Paul" userId="0f6d2a28-7c6e-4106-a327-1058fe8b7c05" providerId="ADAL" clId="{C15EC1BA-EE25-4672-92A2-9249CEBF869C}" dt="2024-02-22T05:38:35.161" v="10921"/>
          <ac:spMkLst>
            <pc:docMk/>
            <pc:sldMk cId="2903802295" sldId="2146847213"/>
            <ac:spMk id="32" creationId="{A6AB73F1-81FF-09F0-13C2-8857F492AD61}"/>
          </ac:spMkLst>
        </pc:spChg>
        <pc:spChg chg="add mod">
          <ac:chgData name="Siddhartha Paul" userId="0f6d2a28-7c6e-4106-a327-1058fe8b7c05" providerId="ADAL" clId="{C15EC1BA-EE25-4672-92A2-9249CEBF869C}" dt="2024-02-22T07:04:25.833" v="12168"/>
          <ac:spMkLst>
            <pc:docMk/>
            <pc:sldMk cId="2903802295" sldId="2146847213"/>
            <ac:spMk id="33" creationId="{05A97BC2-F9A7-0795-B81B-6A54F6F7DC09}"/>
          </ac:spMkLst>
        </pc:spChg>
        <pc:spChg chg="add mod">
          <ac:chgData name="Siddhartha Paul" userId="0f6d2a28-7c6e-4106-a327-1058fe8b7c05" providerId="ADAL" clId="{C15EC1BA-EE25-4672-92A2-9249CEBF869C}" dt="2024-02-22T06:55:58.830" v="11877"/>
          <ac:spMkLst>
            <pc:docMk/>
            <pc:sldMk cId="2903802295" sldId="2146847213"/>
            <ac:spMk id="34" creationId="{880B1122-42B2-15B8-3C4D-03E5BCAF040C}"/>
          </ac:spMkLst>
        </pc:spChg>
        <pc:grpChg chg="add del mod">
          <ac:chgData name="Siddhartha Paul" userId="0f6d2a28-7c6e-4106-a327-1058fe8b7c05" providerId="ADAL" clId="{C15EC1BA-EE25-4672-92A2-9249CEBF869C}" dt="2024-02-21T10:42:01.126" v="9725" actId="165"/>
          <ac:grpSpMkLst>
            <pc:docMk/>
            <pc:sldMk cId="2903802295" sldId="2146847213"/>
            <ac:grpSpMk id="10" creationId="{5482F652-4BE5-67C9-F1B2-99EC6246D865}"/>
          </ac:grpSpMkLst>
        </pc:grpChg>
        <pc:picChg chg="mod">
          <ac:chgData name="Siddhartha Paul" userId="0f6d2a28-7c6e-4106-a327-1058fe8b7c05" providerId="ADAL" clId="{C15EC1BA-EE25-4672-92A2-9249CEBF869C}" dt="2024-02-21T10:41:53.143" v="9722" actId="12788"/>
          <ac:picMkLst>
            <pc:docMk/>
            <pc:sldMk cId="2903802295" sldId="2146847213"/>
            <ac:picMk id="2" creationId="{E626C4AD-912E-A29B-0A22-8F1EBE782DD4}"/>
          </ac:picMkLst>
        </pc:picChg>
        <pc:picChg chg="add mod">
          <ac:chgData name="Siddhartha Paul" userId="0f6d2a28-7c6e-4106-a327-1058fe8b7c05" providerId="ADAL" clId="{C15EC1BA-EE25-4672-92A2-9249CEBF869C}" dt="2024-02-20T20:43:57.069" v="4984" actId="14100"/>
          <ac:picMkLst>
            <pc:docMk/>
            <pc:sldMk cId="2903802295" sldId="2146847213"/>
            <ac:picMk id="3" creationId="{1C3BC59C-B069-28F7-CA7D-1AF7B0708C38}"/>
          </ac:picMkLst>
        </pc:picChg>
      </pc:sldChg>
      <pc:sldChg chg="delSp modSp add del mod ord">
        <pc:chgData name="Siddhartha Paul" userId="0f6d2a28-7c6e-4106-a327-1058fe8b7c05" providerId="ADAL" clId="{C15EC1BA-EE25-4672-92A2-9249CEBF869C}" dt="2024-02-21T06:50:00.807" v="7024" actId="47"/>
        <pc:sldMkLst>
          <pc:docMk/>
          <pc:sldMk cId="2701452848" sldId="2146847214"/>
        </pc:sldMkLst>
        <pc:spChg chg="del">
          <ac:chgData name="Siddhartha Paul" userId="0f6d2a28-7c6e-4106-a327-1058fe8b7c05" providerId="ADAL" clId="{C15EC1BA-EE25-4672-92A2-9249CEBF869C}" dt="2024-02-20T20:50:11.171" v="5105" actId="478"/>
          <ac:spMkLst>
            <pc:docMk/>
            <pc:sldMk cId="2701452848" sldId="2146847214"/>
            <ac:spMk id="4" creationId="{49AA3AD0-7AF1-769A-409A-05E343443EB9}"/>
          </ac:spMkLst>
        </pc:spChg>
        <pc:spChg chg="del">
          <ac:chgData name="Siddhartha Paul" userId="0f6d2a28-7c6e-4106-a327-1058fe8b7c05" providerId="ADAL" clId="{C15EC1BA-EE25-4672-92A2-9249CEBF869C}" dt="2024-02-20T20:50:11.171" v="5105" actId="478"/>
          <ac:spMkLst>
            <pc:docMk/>
            <pc:sldMk cId="2701452848" sldId="2146847214"/>
            <ac:spMk id="24" creationId="{355F3FA5-FDAC-7B36-B238-9F1998D5370B}"/>
          </ac:spMkLst>
        </pc:spChg>
        <pc:grpChg chg="del">
          <ac:chgData name="Siddhartha Paul" userId="0f6d2a28-7c6e-4106-a327-1058fe8b7c05" providerId="ADAL" clId="{C15EC1BA-EE25-4672-92A2-9249CEBF869C}" dt="2024-02-20T20:50:11.171" v="5105" actId="478"/>
          <ac:grpSpMkLst>
            <pc:docMk/>
            <pc:sldMk cId="2701452848" sldId="2146847214"/>
            <ac:grpSpMk id="26" creationId="{67586049-52A3-ED21-5298-B4624B9CBAA5}"/>
          </ac:grpSpMkLst>
        </pc:grpChg>
        <pc:picChg chg="del mod">
          <ac:chgData name="Siddhartha Paul" userId="0f6d2a28-7c6e-4106-a327-1058fe8b7c05" providerId="ADAL" clId="{C15EC1BA-EE25-4672-92A2-9249CEBF869C}" dt="2024-02-21T05:37:51.365" v="5435" actId="21"/>
          <ac:picMkLst>
            <pc:docMk/>
            <pc:sldMk cId="2701452848" sldId="2146847214"/>
            <ac:picMk id="1028" creationId="{1FC6B1A7-FCFE-1D94-F29C-2E0DD31022B9}"/>
          </ac:picMkLst>
        </pc:picChg>
      </pc:sldChg>
      <pc:sldChg chg="addSp delSp modSp add del mod ord">
        <pc:chgData name="Siddhartha Paul" userId="0f6d2a28-7c6e-4106-a327-1058fe8b7c05" providerId="ADAL" clId="{C15EC1BA-EE25-4672-92A2-9249CEBF869C}" dt="2024-02-21T08:14:47.781" v="9402" actId="47"/>
        <pc:sldMkLst>
          <pc:docMk/>
          <pc:sldMk cId="719636933" sldId="2146847215"/>
        </pc:sldMkLst>
        <pc:spChg chg="del">
          <ac:chgData name="Siddhartha Paul" userId="0f6d2a28-7c6e-4106-a327-1058fe8b7c05" providerId="ADAL" clId="{C15EC1BA-EE25-4672-92A2-9249CEBF869C}" dt="2024-02-20T20:54:07.741" v="5114" actId="478"/>
          <ac:spMkLst>
            <pc:docMk/>
            <pc:sldMk cId="719636933" sldId="2146847215"/>
            <ac:spMk id="2" creationId="{BC7B8201-4EE8-C199-4530-CEB7464CF83A}"/>
          </ac:spMkLst>
        </pc:spChg>
        <pc:spChg chg="add del mod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3" creationId="{2ECCAC30-E874-5C66-B1E6-8B2BC29D215E}"/>
          </ac:spMkLst>
        </pc:spChg>
        <pc:spChg chg="del">
          <ac:chgData name="Siddhartha Paul" userId="0f6d2a28-7c6e-4106-a327-1058fe8b7c05" providerId="ADAL" clId="{C15EC1BA-EE25-4672-92A2-9249CEBF869C}" dt="2024-02-20T20:54:07.741" v="5114" actId="478"/>
          <ac:spMkLst>
            <pc:docMk/>
            <pc:sldMk cId="719636933" sldId="2146847215"/>
            <ac:spMk id="4" creationId="{13493189-9363-7F07-52D3-5CA4D6B841D7}"/>
          </ac:spMkLst>
        </pc:spChg>
        <pc:spChg chg="add del mod topLvl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5" creationId="{1A2EAD9A-4F67-ACB1-C50A-E04C1AB46AC0}"/>
          </ac:spMkLst>
        </pc:spChg>
        <pc:spChg chg="add del mod topLvl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6" creationId="{32793778-01D4-FA7E-3432-B1395BADE7A2}"/>
          </ac:spMkLst>
        </pc:spChg>
        <pc:spChg chg="mod">
          <ac:chgData name="Siddhartha Paul" userId="0f6d2a28-7c6e-4106-a327-1058fe8b7c05" providerId="ADAL" clId="{C15EC1BA-EE25-4672-92A2-9249CEBF869C}" dt="2024-02-20T20:55:20.526" v="5136" actId="108"/>
          <ac:spMkLst>
            <pc:docMk/>
            <pc:sldMk cId="719636933" sldId="2146847215"/>
            <ac:spMk id="7" creationId="{238D0DE0-522F-29B0-8202-964439F707B1}"/>
          </ac:spMkLst>
        </pc:spChg>
        <pc:spChg chg="del mod topLvl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10" creationId="{C1E2BB4D-C493-D822-009E-E7E8419BEEF1}"/>
          </ac:spMkLst>
        </pc:spChg>
        <pc:spChg chg="del mod topLvl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11" creationId="{8BA1C8B0-9997-BC77-F209-C44C343967A2}"/>
          </ac:spMkLst>
        </pc:spChg>
        <pc:spChg chg="mod">
          <ac:chgData name="Siddhartha Paul" userId="0f6d2a28-7c6e-4106-a327-1058fe8b7c05" providerId="ADAL" clId="{C15EC1BA-EE25-4672-92A2-9249CEBF869C}" dt="2024-02-20T21:07:23.097" v="5325" actId="14100"/>
          <ac:spMkLst>
            <pc:docMk/>
            <pc:sldMk cId="719636933" sldId="2146847215"/>
            <ac:spMk id="12" creationId="{81AF1D09-5C53-5618-D3EE-4BA63337A2D7}"/>
          </ac:spMkLst>
        </pc:spChg>
        <pc:spChg chg="del mod topLvl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14" creationId="{9AAE7358-0A0E-1449-46F9-81EB31C9E6EC}"/>
          </ac:spMkLst>
        </pc:spChg>
        <pc:spChg chg="del mod topLvl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15" creationId="{BA889A06-E95E-B542-F9FE-CE8AE027621F}"/>
          </ac:spMkLst>
        </pc:spChg>
        <pc:spChg chg="del mod topLvl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17" creationId="{D49FC03D-B33B-D766-E09F-6F51ACA27A13}"/>
          </ac:spMkLst>
        </pc:spChg>
        <pc:spChg chg="del mod topLvl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18" creationId="{AD2A13CE-23CD-DA35-29E5-3BA7815BCA0F}"/>
          </ac:spMkLst>
        </pc:spChg>
        <pc:spChg chg="del mod topLvl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20" creationId="{77DFF4C2-86E3-A7E3-FADA-B913B478CB7A}"/>
          </ac:spMkLst>
        </pc:spChg>
        <pc:spChg chg="del mod topLvl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21" creationId="{1401F0E3-973A-CDFD-28DA-EB600A82073E}"/>
          </ac:spMkLst>
        </pc:spChg>
        <pc:spChg chg="del">
          <ac:chgData name="Siddhartha Paul" userId="0f6d2a28-7c6e-4106-a327-1058fe8b7c05" providerId="ADAL" clId="{C15EC1BA-EE25-4672-92A2-9249CEBF869C}" dt="2024-02-20T20:54:07.741" v="5114" actId="478"/>
          <ac:spMkLst>
            <pc:docMk/>
            <pc:sldMk cId="719636933" sldId="2146847215"/>
            <ac:spMk id="26" creationId="{505D9EBD-3675-449B-4843-35350D69A4F4}"/>
          </ac:spMkLst>
        </pc:spChg>
        <pc:spChg chg="del">
          <ac:chgData name="Siddhartha Paul" userId="0f6d2a28-7c6e-4106-a327-1058fe8b7c05" providerId="ADAL" clId="{C15EC1BA-EE25-4672-92A2-9249CEBF869C}" dt="2024-02-20T20:54:07.741" v="5114" actId="478"/>
          <ac:spMkLst>
            <pc:docMk/>
            <pc:sldMk cId="719636933" sldId="2146847215"/>
            <ac:spMk id="27" creationId="{8B3989F6-4F94-824E-954E-16A2AE1498D2}"/>
          </ac:spMkLst>
        </pc:spChg>
        <pc:spChg chg="add del mod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37" creationId="{D502755E-A422-D46F-875E-1380438D42ED}"/>
          </ac:spMkLst>
        </pc:spChg>
        <pc:spChg chg="add del mod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38" creationId="{EE4490DC-6215-FFA0-5FCD-ED8B65EEA061}"/>
          </ac:spMkLst>
        </pc:spChg>
        <pc:spChg chg="add del mod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39" creationId="{5EAAFF63-76BB-77C1-AD25-B017AFB9C66C}"/>
          </ac:spMkLst>
        </pc:spChg>
        <pc:spChg chg="add del mod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40" creationId="{0C5E35E4-D5AB-EBDF-2592-FC2797B7F033}"/>
          </ac:spMkLst>
        </pc:spChg>
        <pc:spChg chg="add del mod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41" creationId="{0481EFFD-D1D2-143F-196D-EE3C10973B63}"/>
          </ac:spMkLst>
        </pc:spChg>
        <pc:spChg chg="add del mod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42" creationId="{AAAD5BCB-3AE2-2E01-6FDB-CC96BD119124}"/>
          </ac:spMkLst>
        </pc:spChg>
        <pc:spChg chg="add del mod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43" creationId="{252B6A0A-CB92-A9CF-F52D-7EBA4D3B0DE5}"/>
          </ac:spMkLst>
        </pc:spChg>
        <pc:spChg chg="add del mod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44" creationId="{8677EF50-DEDD-E887-6CE1-39C040F5D727}"/>
          </ac:spMkLst>
        </pc:spChg>
        <pc:spChg chg="add del mod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45" creationId="{180BCFC7-3155-D3EF-46B3-3B30466F7E16}"/>
          </ac:spMkLst>
        </pc:spChg>
        <pc:spChg chg="add del mod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46" creationId="{094B864E-8CE0-21D2-4B87-D878A3E3CDF1}"/>
          </ac:spMkLst>
        </pc:spChg>
        <pc:spChg chg="add del mod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47" creationId="{4BDC7CEB-29A2-2105-0B53-4B75D713AE6F}"/>
          </ac:spMkLst>
        </pc:spChg>
        <pc:spChg chg="add del mod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48" creationId="{555B9486-D182-05EE-AB38-12355D4D8B27}"/>
          </ac:spMkLst>
        </pc:spChg>
        <pc:spChg chg="add del mod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49" creationId="{A944723B-8311-15D4-0A59-0EA9D9540C36}"/>
          </ac:spMkLst>
        </pc:spChg>
        <pc:spChg chg="add del mod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50" creationId="{FAFC66DE-CFF6-531D-D4D0-53C990D04DA3}"/>
          </ac:spMkLst>
        </pc:spChg>
        <pc:spChg chg="add del mod">
          <ac:chgData name="Siddhartha Paul" userId="0f6d2a28-7c6e-4106-a327-1058fe8b7c05" providerId="ADAL" clId="{C15EC1BA-EE25-4672-92A2-9249CEBF869C}" dt="2024-02-21T04:50:28.611" v="5337" actId="478"/>
          <ac:spMkLst>
            <pc:docMk/>
            <pc:sldMk cId="719636933" sldId="2146847215"/>
            <ac:spMk id="51" creationId="{183D92FF-56E8-2574-C979-0BBD29067556}"/>
          </ac:spMkLst>
        </pc:spChg>
        <pc:spChg chg="add mod">
          <ac:chgData name="Siddhartha Paul" userId="0f6d2a28-7c6e-4106-a327-1058fe8b7c05" providerId="ADAL" clId="{C15EC1BA-EE25-4672-92A2-9249CEBF869C}" dt="2024-02-21T04:50:39.767" v="5339"/>
          <ac:spMkLst>
            <pc:docMk/>
            <pc:sldMk cId="719636933" sldId="2146847215"/>
            <ac:spMk id="52" creationId="{A4790F67-11E5-D9DA-2927-2B92F14CA53B}"/>
          </ac:spMkLst>
        </pc:spChg>
        <pc:spChg chg="add mod">
          <ac:chgData name="Siddhartha Paul" userId="0f6d2a28-7c6e-4106-a327-1058fe8b7c05" providerId="ADAL" clId="{C15EC1BA-EE25-4672-92A2-9249CEBF869C}" dt="2024-02-21T04:50:39.767" v="5339"/>
          <ac:spMkLst>
            <pc:docMk/>
            <pc:sldMk cId="719636933" sldId="2146847215"/>
            <ac:spMk id="53" creationId="{A4C5DC40-532D-7679-A9B7-5E8379A58D40}"/>
          </ac:spMkLst>
        </pc:spChg>
        <pc:spChg chg="add mod">
          <ac:chgData name="Siddhartha Paul" userId="0f6d2a28-7c6e-4106-a327-1058fe8b7c05" providerId="ADAL" clId="{C15EC1BA-EE25-4672-92A2-9249CEBF869C}" dt="2024-02-21T04:50:39.767" v="5339"/>
          <ac:spMkLst>
            <pc:docMk/>
            <pc:sldMk cId="719636933" sldId="2146847215"/>
            <ac:spMk id="54" creationId="{F2610862-F1B0-5EC7-FBEF-D0EFB6EB2E53}"/>
          </ac:spMkLst>
        </pc:spChg>
        <pc:spChg chg="add mod">
          <ac:chgData name="Siddhartha Paul" userId="0f6d2a28-7c6e-4106-a327-1058fe8b7c05" providerId="ADAL" clId="{C15EC1BA-EE25-4672-92A2-9249CEBF869C}" dt="2024-02-21T04:50:39.767" v="5339"/>
          <ac:spMkLst>
            <pc:docMk/>
            <pc:sldMk cId="719636933" sldId="2146847215"/>
            <ac:spMk id="55" creationId="{2B514A1E-1457-1A58-D7E4-E86B137DF6F7}"/>
          </ac:spMkLst>
        </pc:spChg>
        <pc:spChg chg="add mod">
          <ac:chgData name="Siddhartha Paul" userId="0f6d2a28-7c6e-4106-a327-1058fe8b7c05" providerId="ADAL" clId="{C15EC1BA-EE25-4672-92A2-9249CEBF869C}" dt="2024-02-21T04:50:39.767" v="5339"/>
          <ac:spMkLst>
            <pc:docMk/>
            <pc:sldMk cId="719636933" sldId="2146847215"/>
            <ac:spMk id="56" creationId="{676A291E-DB63-670C-4317-4AFE673C673D}"/>
          </ac:spMkLst>
        </pc:spChg>
        <pc:grpChg chg="add del mod">
          <ac:chgData name="Siddhartha Paul" userId="0f6d2a28-7c6e-4106-a327-1058fe8b7c05" providerId="ADAL" clId="{C15EC1BA-EE25-4672-92A2-9249CEBF869C}" dt="2024-02-20T20:59:17.128" v="5179" actId="165"/>
          <ac:grpSpMkLst>
            <pc:docMk/>
            <pc:sldMk cId="719636933" sldId="2146847215"/>
            <ac:grpSpMk id="8" creationId="{32A887D9-B422-9A07-D86D-CE4FF42D81FE}"/>
          </ac:grpSpMkLst>
        </pc:grpChg>
        <pc:grpChg chg="add del mod">
          <ac:chgData name="Siddhartha Paul" userId="0f6d2a28-7c6e-4106-a327-1058fe8b7c05" providerId="ADAL" clId="{C15EC1BA-EE25-4672-92A2-9249CEBF869C}" dt="2024-02-20T20:59:23.857" v="5180" actId="165"/>
          <ac:grpSpMkLst>
            <pc:docMk/>
            <pc:sldMk cId="719636933" sldId="2146847215"/>
            <ac:grpSpMk id="9" creationId="{9DBD2521-B788-68C9-D5E8-E0A439583DE6}"/>
          </ac:grpSpMkLst>
        </pc:grpChg>
        <pc:grpChg chg="add del mod">
          <ac:chgData name="Siddhartha Paul" userId="0f6d2a28-7c6e-4106-a327-1058fe8b7c05" providerId="ADAL" clId="{C15EC1BA-EE25-4672-92A2-9249CEBF869C}" dt="2024-02-20T20:59:26.230" v="5181" actId="165"/>
          <ac:grpSpMkLst>
            <pc:docMk/>
            <pc:sldMk cId="719636933" sldId="2146847215"/>
            <ac:grpSpMk id="13" creationId="{8DB6C898-2ABD-85AB-C682-0B1A4760BF3A}"/>
          </ac:grpSpMkLst>
        </pc:grpChg>
        <pc:grpChg chg="add del mod">
          <ac:chgData name="Siddhartha Paul" userId="0f6d2a28-7c6e-4106-a327-1058fe8b7c05" providerId="ADAL" clId="{C15EC1BA-EE25-4672-92A2-9249CEBF869C}" dt="2024-02-20T20:59:28.451" v="5182" actId="165"/>
          <ac:grpSpMkLst>
            <pc:docMk/>
            <pc:sldMk cId="719636933" sldId="2146847215"/>
            <ac:grpSpMk id="16" creationId="{A863F117-7585-2FD2-5D0A-214AF9457472}"/>
          </ac:grpSpMkLst>
        </pc:grpChg>
        <pc:grpChg chg="add del mod">
          <ac:chgData name="Siddhartha Paul" userId="0f6d2a28-7c6e-4106-a327-1058fe8b7c05" providerId="ADAL" clId="{C15EC1BA-EE25-4672-92A2-9249CEBF869C}" dt="2024-02-20T20:59:30.517" v="5183" actId="165"/>
          <ac:grpSpMkLst>
            <pc:docMk/>
            <pc:sldMk cId="719636933" sldId="2146847215"/>
            <ac:grpSpMk id="19" creationId="{99D05024-4670-2DF3-7532-AE5C41B26740}"/>
          </ac:grpSpMkLst>
        </pc:grpChg>
        <pc:cxnChg chg="add del mod">
          <ac:chgData name="Siddhartha Paul" userId="0f6d2a28-7c6e-4106-a327-1058fe8b7c05" providerId="ADAL" clId="{C15EC1BA-EE25-4672-92A2-9249CEBF869C}" dt="2024-02-21T04:50:28.611" v="5337" actId="478"/>
          <ac:cxnSpMkLst>
            <pc:docMk/>
            <pc:sldMk cId="719636933" sldId="2146847215"/>
            <ac:cxnSpMk id="23" creationId="{EE022894-9482-102F-9783-E2102863656A}"/>
          </ac:cxnSpMkLst>
        </pc:cxnChg>
        <pc:cxnChg chg="add del mod">
          <ac:chgData name="Siddhartha Paul" userId="0f6d2a28-7c6e-4106-a327-1058fe8b7c05" providerId="ADAL" clId="{C15EC1BA-EE25-4672-92A2-9249CEBF869C}" dt="2024-02-21T04:50:28.611" v="5337" actId="478"/>
          <ac:cxnSpMkLst>
            <pc:docMk/>
            <pc:sldMk cId="719636933" sldId="2146847215"/>
            <ac:cxnSpMk id="28" creationId="{76511960-5A9C-FA4E-B761-18C2FA9970FD}"/>
          </ac:cxnSpMkLst>
        </pc:cxnChg>
        <pc:cxnChg chg="add del mod">
          <ac:chgData name="Siddhartha Paul" userId="0f6d2a28-7c6e-4106-a327-1058fe8b7c05" providerId="ADAL" clId="{C15EC1BA-EE25-4672-92A2-9249CEBF869C}" dt="2024-02-21T04:50:28.611" v="5337" actId="478"/>
          <ac:cxnSpMkLst>
            <pc:docMk/>
            <pc:sldMk cId="719636933" sldId="2146847215"/>
            <ac:cxnSpMk id="30" creationId="{3F67A32A-F0E6-BEDB-EA82-E1DA1F5DF578}"/>
          </ac:cxnSpMkLst>
        </pc:cxnChg>
        <pc:cxnChg chg="add del mod">
          <ac:chgData name="Siddhartha Paul" userId="0f6d2a28-7c6e-4106-a327-1058fe8b7c05" providerId="ADAL" clId="{C15EC1BA-EE25-4672-92A2-9249CEBF869C}" dt="2024-02-21T04:50:28.611" v="5337" actId="478"/>
          <ac:cxnSpMkLst>
            <pc:docMk/>
            <pc:sldMk cId="719636933" sldId="2146847215"/>
            <ac:cxnSpMk id="32" creationId="{B44E4C13-F049-44BB-06CC-3C6E21F45A40}"/>
          </ac:cxnSpMkLst>
        </pc:cxnChg>
        <pc:cxnChg chg="add del mod">
          <ac:chgData name="Siddhartha Paul" userId="0f6d2a28-7c6e-4106-a327-1058fe8b7c05" providerId="ADAL" clId="{C15EC1BA-EE25-4672-92A2-9249CEBF869C}" dt="2024-02-21T04:50:28.611" v="5337" actId="478"/>
          <ac:cxnSpMkLst>
            <pc:docMk/>
            <pc:sldMk cId="719636933" sldId="2146847215"/>
            <ac:cxnSpMk id="34" creationId="{1F767223-FAB2-1367-CE52-B1DC34294839}"/>
          </ac:cxnSpMkLst>
        </pc:cxnChg>
      </pc:sldChg>
      <pc:sldChg chg="addSp delSp modSp new del ord">
        <pc:chgData name="Siddhartha Paul" userId="0f6d2a28-7c6e-4106-a327-1058fe8b7c05" providerId="ADAL" clId="{C15EC1BA-EE25-4672-92A2-9249CEBF869C}" dt="2024-02-21T08:14:47.781" v="9402" actId="47"/>
        <pc:sldMkLst>
          <pc:docMk/>
          <pc:sldMk cId="440368419" sldId="2146847216"/>
        </pc:sldMkLst>
        <pc:spChg chg="del">
          <ac:chgData name="Siddhartha Paul" userId="0f6d2a28-7c6e-4106-a327-1058fe8b7c05" providerId="ADAL" clId="{C15EC1BA-EE25-4672-92A2-9249CEBF869C}" dt="2024-02-20T22:33:22.789" v="5329" actId="478"/>
          <ac:spMkLst>
            <pc:docMk/>
            <pc:sldMk cId="440368419" sldId="2146847216"/>
            <ac:spMk id="2" creationId="{BE9D341A-BBD2-5555-572B-C0796B51AA29}"/>
          </ac:spMkLst>
        </pc:spChg>
        <pc:spChg chg="del">
          <ac:chgData name="Siddhartha Paul" userId="0f6d2a28-7c6e-4106-a327-1058fe8b7c05" providerId="ADAL" clId="{C15EC1BA-EE25-4672-92A2-9249CEBF869C}" dt="2024-02-20T22:33:22.789" v="5329" actId="478"/>
          <ac:spMkLst>
            <pc:docMk/>
            <pc:sldMk cId="440368419" sldId="2146847216"/>
            <ac:spMk id="3" creationId="{02676E8B-5079-1E88-C785-0344682486F2}"/>
          </ac:spMkLst>
        </pc:spChg>
        <pc:spChg chg="del">
          <ac:chgData name="Siddhartha Paul" userId="0f6d2a28-7c6e-4106-a327-1058fe8b7c05" providerId="ADAL" clId="{C15EC1BA-EE25-4672-92A2-9249CEBF869C}" dt="2024-02-20T22:33:22.789" v="5329" actId="478"/>
          <ac:spMkLst>
            <pc:docMk/>
            <pc:sldMk cId="440368419" sldId="2146847216"/>
            <ac:spMk id="4" creationId="{46AB65EA-F6C5-4EEC-F67E-44A61400676F}"/>
          </ac:spMkLst>
        </pc:spChg>
        <pc:spChg chg="add 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5" creationId="{C5832D1B-B168-3F62-0DE5-755D76165B78}"/>
          </ac:spMkLst>
        </pc:spChg>
        <pc:spChg chg="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7" creationId="{8C9D7656-288D-06A7-D712-B6730D34C556}"/>
          </ac:spMkLst>
        </pc:spChg>
        <pc:spChg chg="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8" creationId="{77718A24-C700-BB49-7E7A-9352039A6570}"/>
          </ac:spMkLst>
        </pc:spChg>
        <pc:spChg chg="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9" creationId="{9978E2D9-351C-0674-8A4A-130DDE2AD950}"/>
          </ac:spMkLst>
        </pc:spChg>
        <pc:spChg chg="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10" creationId="{8778EBA1-8F91-D41F-F81E-B9A6395CE172}"/>
          </ac:spMkLst>
        </pc:spChg>
        <pc:spChg chg="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11" creationId="{B86AF16A-9D85-F589-72F0-A49329A6A988}"/>
          </ac:spMkLst>
        </pc:spChg>
        <pc:spChg chg="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12" creationId="{00EB65A5-AFFA-B8BA-7CE2-C77F9AFCB312}"/>
          </ac:spMkLst>
        </pc:spChg>
        <pc:spChg chg="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13" creationId="{2870A8CA-8317-CC4D-B61F-86EE9A968CB8}"/>
          </ac:spMkLst>
        </pc:spChg>
        <pc:spChg chg="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14" creationId="{E0DDA76E-D88F-0ACE-9CF2-F4F43E247D67}"/>
          </ac:spMkLst>
        </pc:spChg>
        <pc:spChg chg="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15" creationId="{3A866CE7-D766-0C02-BB3E-410A9965A9C8}"/>
          </ac:spMkLst>
        </pc:spChg>
        <pc:spChg chg="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16" creationId="{3C33CE04-AC27-FE8E-E491-BCFEA0F9C9C3}"/>
          </ac:spMkLst>
        </pc:spChg>
        <pc:spChg chg="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17" creationId="{76FDE632-D9AB-A1F6-A7F4-B27442F97D9C}"/>
          </ac:spMkLst>
        </pc:spChg>
        <pc:spChg chg="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18" creationId="{CD2EE85B-54DF-27B1-A1B3-F8CA8CE4C858}"/>
          </ac:spMkLst>
        </pc:spChg>
        <pc:spChg chg="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19" creationId="{939024E9-72D3-2860-6B0D-27D5D66FC2FF}"/>
          </ac:spMkLst>
        </pc:spChg>
        <pc:spChg chg="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20" creationId="{93069F3F-9B76-EC15-74DF-5BBE7770BB28}"/>
          </ac:spMkLst>
        </pc:spChg>
        <pc:spChg chg="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21" creationId="{49D316D7-ACBD-9A26-99DA-801E9B75053F}"/>
          </ac:spMkLst>
        </pc:spChg>
        <pc:spChg chg="mod">
          <ac:chgData name="Siddhartha Paul" userId="0f6d2a28-7c6e-4106-a327-1058fe8b7c05" providerId="ADAL" clId="{C15EC1BA-EE25-4672-92A2-9249CEBF869C}" dt="2024-02-21T04:49:25.108" v="5330"/>
          <ac:spMkLst>
            <pc:docMk/>
            <pc:sldMk cId="440368419" sldId="2146847216"/>
            <ac:spMk id="22" creationId="{556EDFB0-B869-CB76-3E95-AC1C31E5F24D}"/>
          </ac:spMkLst>
        </pc:spChg>
        <pc:grpChg chg="add mod">
          <ac:chgData name="Siddhartha Paul" userId="0f6d2a28-7c6e-4106-a327-1058fe8b7c05" providerId="ADAL" clId="{C15EC1BA-EE25-4672-92A2-9249CEBF869C}" dt="2024-02-21T04:49:25.108" v="5330"/>
          <ac:grpSpMkLst>
            <pc:docMk/>
            <pc:sldMk cId="440368419" sldId="2146847216"/>
            <ac:grpSpMk id="6" creationId="{64AB947F-CCC9-609F-8C93-5722AD3D6DB5}"/>
          </ac:grpSpMkLst>
        </pc:grpChg>
      </pc:sldChg>
      <pc:sldChg chg="delSp add del mod ord">
        <pc:chgData name="Siddhartha Paul" userId="0f6d2a28-7c6e-4106-a327-1058fe8b7c05" providerId="ADAL" clId="{C15EC1BA-EE25-4672-92A2-9249CEBF869C}" dt="2024-02-21T04:50:43.771" v="5340" actId="47"/>
        <pc:sldMkLst>
          <pc:docMk/>
          <pc:sldMk cId="2114813332" sldId="2146847661"/>
        </pc:sldMkLst>
        <pc:spChg chg="del">
          <ac:chgData name="Siddhartha Paul" userId="0f6d2a28-7c6e-4106-a327-1058fe8b7c05" providerId="ADAL" clId="{C15EC1BA-EE25-4672-92A2-9249CEBF869C}" dt="2024-02-21T04:50:35.718" v="5338" actId="21"/>
          <ac:spMkLst>
            <pc:docMk/>
            <pc:sldMk cId="2114813332" sldId="2146847661"/>
            <ac:spMk id="34" creationId="{A4790F67-11E5-D9DA-2927-2B92F14CA53B}"/>
          </ac:spMkLst>
        </pc:spChg>
        <pc:spChg chg="del">
          <ac:chgData name="Siddhartha Paul" userId="0f6d2a28-7c6e-4106-a327-1058fe8b7c05" providerId="ADAL" clId="{C15EC1BA-EE25-4672-92A2-9249CEBF869C}" dt="2024-02-21T04:50:35.718" v="5338" actId="21"/>
          <ac:spMkLst>
            <pc:docMk/>
            <pc:sldMk cId="2114813332" sldId="2146847661"/>
            <ac:spMk id="35" creationId="{A4C5DC40-532D-7679-A9B7-5E8379A58D40}"/>
          </ac:spMkLst>
        </pc:spChg>
        <pc:spChg chg="del">
          <ac:chgData name="Siddhartha Paul" userId="0f6d2a28-7c6e-4106-a327-1058fe8b7c05" providerId="ADAL" clId="{C15EC1BA-EE25-4672-92A2-9249CEBF869C}" dt="2024-02-21T04:50:35.718" v="5338" actId="21"/>
          <ac:spMkLst>
            <pc:docMk/>
            <pc:sldMk cId="2114813332" sldId="2146847661"/>
            <ac:spMk id="36" creationId="{F2610862-F1B0-5EC7-FBEF-D0EFB6EB2E53}"/>
          </ac:spMkLst>
        </pc:spChg>
        <pc:spChg chg="del">
          <ac:chgData name="Siddhartha Paul" userId="0f6d2a28-7c6e-4106-a327-1058fe8b7c05" providerId="ADAL" clId="{C15EC1BA-EE25-4672-92A2-9249CEBF869C}" dt="2024-02-21T04:50:35.718" v="5338" actId="21"/>
          <ac:spMkLst>
            <pc:docMk/>
            <pc:sldMk cId="2114813332" sldId="2146847661"/>
            <ac:spMk id="40" creationId="{2B514A1E-1457-1A58-D7E4-E86B137DF6F7}"/>
          </ac:spMkLst>
        </pc:spChg>
        <pc:spChg chg="del">
          <ac:chgData name="Siddhartha Paul" userId="0f6d2a28-7c6e-4106-a327-1058fe8b7c05" providerId="ADAL" clId="{C15EC1BA-EE25-4672-92A2-9249CEBF869C}" dt="2024-02-21T04:50:35.718" v="5338" actId="21"/>
          <ac:spMkLst>
            <pc:docMk/>
            <pc:sldMk cId="2114813332" sldId="2146847661"/>
            <ac:spMk id="41" creationId="{676A291E-DB63-670C-4317-4AFE673C673D}"/>
          </ac:spMkLst>
        </pc:spChg>
      </pc:sldChg>
      <pc:sldChg chg="addSp delSp modSp add mod ord">
        <pc:chgData name="Siddhartha Paul" userId="0f6d2a28-7c6e-4106-a327-1058fe8b7c05" providerId="ADAL" clId="{C15EC1BA-EE25-4672-92A2-9249CEBF869C}" dt="2024-02-22T10:45:11.743" v="12719" actId="20577"/>
        <pc:sldMkLst>
          <pc:docMk/>
          <pc:sldMk cId="4187236008" sldId="2146847662"/>
        </pc:sldMkLst>
        <pc:spChg chg="mod">
          <ac:chgData name="Siddhartha Paul" userId="0f6d2a28-7c6e-4106-a327-1058fe8b7c05" providerId="ADAL" clId="{C15EC1BA-EE25-4672-92A2-9249CEBF869C}" dt="2024-02-21T07:42:52.839" v="8338" actId="164"/>
          <ac:spMkLst>
            <pc:docMk/>
            <pc:sldMk cId="4187236008" sldId="2146847662"/>
            <ac:spMk id="5" creationId="{1A2EAD9A-4F67-ACB1-C50A-E04C1AB46AC0}"/>
          </ac:spMkLst>
        </pc:spChg>
        <pc:spChg chg="mod">
          <ac:chgData name="Siddhartha Paul" userId="0f6d2a28-7c6e-4106-a327-1058fe8b7c05" providerId="ADAL" clId="{C15EC1BA-EE25-4672-92A2-9249CEBF869C}" dt="2024-02-21T07:42:52.839" v="8338" actId="164"/>
          <ac:spMkLst>
            <pc:docMk/>
            <pc:sldMk cId="4187236008" sldId="2146847662"/>
            <ac:spMk id="6" creationId="{32793778-01D4-FA7E-3432-B1395BADE7A2}"/>
          </ac:spMkLst>
        </pc:spChg>
        <pc:spChg chg="mod">
          <ac:chgData name="Siddhartha Paul" userId="0f6d2a28-7c6e-4106-a327-1058fe8b7c05" providerId="ADAL" clId="{C15EC1BA-EE25-4672-92A2-9249CEBF869C}" dt="2024-02-21T07:42:47.790" v="8337" actId="164"/>
          <ac:spMkLst>
            <pc:docMk/>
            <pc:sldMk cId="4187236008" sldId="2146847662"/>
            <ac:spMk id="10" creationId="{C1E2BB4D-C493-D822-009E-E7E8419BEEF1}"/>
          </ac:spMkLst>
        </pc:spChg>
        <pc:spChg chg="mod">
          <ac:chgData name="Siddhartha Paul" userId="0f6d2a28-7c6e-4106-a327-1058fe8b7c05" providerId="ADAL" clId="{C15EC1BA-EE25-4672-92A2-9249CEBF869C}" dt="2024-02-21T07:42:47.790" v="8337" actId="164"/>
          <ac:spMkLst>
            <pc:docMk/>
            <pc:sldMk cId="4187236008" sldId="2146847662"/>
            <ac:spMk id="11" creationId="{8BA1C8B0-9997-BC77-F209-C44C343967A2}"/>
          </ac:spMkLst>
        </pc:spChg>
        <pc:spChg chg="del">
          <ac:chgData name="Siddhartha Paul" userId="0f6d2a28-7c6e-4106-a327-1058fe8b7c05" providerId="ADAL" clId="{C15EC1BA-EE25-4672-92A2-9249CEBF869C}" dt="2024-02-22T04:49:57.853" v="10316" actId="478"/>
          <ac:spMkLst>
            <pc:docMk/>
            <pc:sldMk cId="4187236008" sldId="2146847662"/>
            <ac:spMk id="12" creationId="{81AF1D09-5C53-5618-D3EE-4BA63337A2D7}"/>
          </ac:spMkLst>
        </pc:spChg>
        <pc:spChg chg="mod">
          <ac:chgData name="Siddhartha Paul" userId="0f6d2a28-7c6e-4106-a327-1058fe8b7c05" providerId="ADAL" clId="{C15EC1BA-EE25-4672-92A2-9249CEBF869C}" dt="2024-02-21T07:42:41.037" v="8336" actId="164"/>
          <ac:spMkLst>
            <pc:docMk/>
            <pc:sldMk cId="4187236008" sldId="2146847662"/>
            <ac:spMk id="14" creationId="{9AAE7358-0A0E-1449-46F9-81EB31C9E6EC}"/>
          </ac:spMkLst>
        </pc:spChg>
        <pc:spChg chg="mod">
          <ac:chgData name="Siddhartha Paul" userId="0f6d2a28-7c6e-4106-a327-1058fe8b7c05" providerId="ADAL" clId="{C15EC1BA-EE25-4672-92A2-9249CEBF869C}" dt="2024-02-21T07:42:41.037" v="8336" actId="164"/>
          <ac:spMkLst>
            <pc:docMk/>
            <pc:sldMk cId="4187236008" sldId="2146847662"/>
            <ac:spMk id="15" creationId="{BA889A06-E95E-B542-F9FE-CE8AE027621F}"/>
          </ac:spMkLst>
        </pc:spChg>
        <pc:spChg chg="mod">
          <ac:chgData name="Siddhartha Paul" userId="0f6d2a28-7c6e-4106-a327-1058fe8b7c05" providerId="ADAL" clId="{C15EC1BA-EE25-4672-92A2-9249CEBF869C}" dt="2024-02-22T10:43:52.314" v="12593" actId="1037"/>
          <ac:spMkLst>
            <pc:docMk/>
            <pc:sldMk cId="4187236008" sldId="2146847662"/>
            <ac:spMk id="16" creationId="{97136523-E7F1-3346-2937-621B3FA12332}"/>
          </ac:spMkLst>
        </pc:spChg>
        <pc:spChg chg="mod">
          <ac:chgData name="Siddhartha Paul" userId="0f6d2a28-7c6e-4106-a327-1058fe8b7c05" providerId="ADAL" clId="{C15EC1BA-EE25-4672-92A2-9249CEBF869C}" dt="2024-02-21T07:42:30.740" v="8335" actId="164"/>
          <ac:spMkLst>
            <pc:docMk/>
            <pc:sldMk cId="4187236008" sldId="2146847662"/>
            <ac:spMk id="17" creationId="{D49FC03D-B33B-D766-E09F-6F51ACA27A13}"/>
          </ac:spMkLst>
        </pc:spChg>
        <pc:spChg chg="mod">
          <ac:chgData name="Siddhartha Paul" userId="0f6d2a28-7c6e-4106-a327-1058fe8b7c05" providerId="ADAL" clId="{C15EC1BA-EE25-4672-92A2-9249CEBF869C}" dt="2024-02-21T07:42:30.740" v="8335" actId="164"/>
          <ac:spMkLst>
            <pc:docMk/>
            <pc:sldMk cId="4187236008" sldId="2146847662"/>
            <ac:spMk id="18" creationId="{AD2A13CE-23CD-DA35-29E5-3BA7815BCA0F}"/>
          </ac:spMkLst>
        </pc:spChg>
        <pc:spChg chg="add del mod">
          <ac:chgData name="Siddhartha Paul" userId="0f6d2a28-7c6e-4106-a327-1058fe8b7c05" providerId="ADAL" clId="{C15EC1BA-EE25-4672-92A2-9249CEBF869C}" dt="2024-02-22T06:56:22.814" v="11890" actId="478"/>
          <ac:spMkLst>
            <pc:docMk/>
            <pc:sldMk cId="4187236008" sldId="2146847662"/>
            <ac:spMk id="19" creationId="{9939AAD8-B13B-6515-C558-0A9706CF6727}"/>
          </ac:spMkLst>
        </pc:spChg>
        <pc:spChg chg="del">
          <ac:chgData name="Siddhartha Paul" userId="0f6d2a28-7c6e-4106-a327-1058fe8b7c05" providerId="ADAL" clId="{C15EC1BA-EE25-4672-92A2-9249CEBF869C}" dt="2024-02-21T07:42:18.050" v="8333" actId="478"/>
          <ac:spMkLst>
            <pc:docMk/>
            <pc:sldMk cId="4187236008" sldId="2146847662"/>
            <ac:spMk id="20" creationId="{77DFF4C2-86E3-A7E3-FADA-B913B478CB7A}"/>
          </ac:spMkLst>
        </pc:spChg>
        <pc:spChg chg="del">
          <ac:chgData name="Siddhartha Paul" userId="0f6d2a28-7c6e-4106-a327-1058fe8b7c05" providerId="ADAL" clId="{C15EC1BA-EE25-4672-92A2-9249CEBF869C}" dt="2024-02-21T07:42:18.050" v="8333" actId="478"/>
          <ac:spMkLst>
            <pc:docMk/>
            <pc:sldMk cId="4187236008" sldId="2146847662"/>
            <ac:spMk id="21" creationId="{1401F0E3-973A-CDFD-28DA-EB600A82073E}"/>
          </ac:spMkLst>
        </pc:spChg>
        <pc:spChg chg="add del mod">
          <ac:chgData name="Siddhartha Paul" userId="0f6d2a28-7c6e-4106-a327-1058fe8b7c05" providerId="ADAL" clId="{C15EC1BA-EE25-4672-92A2-9249CEBF869C}" dt="2024-02-22T06:22:01.065" v="11532" actId="478"/>
          <ac:spMkLst>
            <pc:docMk/>
            <pc:sldMk cId="4187236008" sldId="2146847662"/>
            <ac:spMk id="22" creationId="{304D9A50-A173-13A5-3C51-2518CC1359D0}"/>
          </ac:spMkLst>
        </pc:spChg>
        <pc:spChg chg="del">
          <ac:chgData name="Siddhartha Paul" userId="0f6d2a28-7c6e-4106-a327-1058fe8b7c05" providerId="ADAL" clId="{C15EC1BA-EE25-4672-92A2-9249CEBF869C}" dt="2024-02-22T04:50:00.204" v="10317" actId="478"/>
          <ac:spMkLst>
            <pc:docMk/>
            <pc:sldMk cId="4187236008" sldId="2146847662"/>
            <ac:spMk id="24" creationId="{E2F99286-F64D-E5B0-A5EE-8CB16F216C58}"/>
          </ac:spMkLst>
        </pc:spChg>
        <pc:spChg chg="add mod">
          <ac:chgData name="Siddhartha Paul" userId="0f6d2a28-7c6e-4106-a327-1058fe8b7c05" providerId="ADAL" clId="{C15EC1BA-EE25-4672-92A2-9249CEBF869C}" dt="2024-02-22T05:41:27.953" v="10956"/>
          <ac:spMkLst>
            <pc:docMk/>
            <pc:sldMk cId="4187236008" sldId="2146847662"/>
            <ac:spMk id="25" creationId="{472BDBEE-63D4-A362-44D3-A5D9D632C09D}"/>
          </ac:spMkLst>
        </pc:spChg>
        <pc:spChg chg="add mod">
          <ac:chgData name="Siddhartha Paul" userId="0f6d2a28-7c6e-4106-a327-1058fe8b7c05" providerId="ADAL" clId="{C15EC1BA-EE25-4672-92A2-9249CEBF869C}" dt="2024-02-22T05:41:27.953" v="10956"/>
          <ac:spMkLst>
            <pc:docMk/>
            <pc:sldMk cId="4187236008" sldId="2146847662"/>
            <ac:spMk id="26" creationId="{D90DADB7-70EA-842E-24A5-44206F7A5BC3}"/>
          </ac:spMkLst>
        </pc:spChg>
        <pc:spChg chg="add mod">
          <ac:chgData name="Siddhartha Paul" userId="0f6d2a28-7c6e-4106-a327-1058fe8b7c05" providerId="ADAL" clId="{C15EC1BA-EE25-4672-92A2-9249CEBF869C}" dt="2024-02-22T05:41:32.926" v="10957" actId="207"/>
          <ac:spMkLst>
            <pc:docMk/>
            <pc:sldMk cId="4187236008" sldId="2146847662"/>
            <ac:spMk id="27" creationId="{06F5DBAC-9AA0-A1CA-21AA-E9FCF9A6D6CD}"/>
          </ac:spMkLst>
        </pc:spChg>
        <pc:spChg chg="add mod">
          <ac:chgData name="Siddhartha Paul" userId="0f6d2a28-7c6e-4106-a327-1058fe8b7c05" providerId="ADAL" clId="{C15EC1BA-EE25-4672-92A2-9249CEBF869C}" dt="2024-02-22T05:41:36.538" v="10958" actId="207"/>
          <ac:spMkLst>
            <pc:docMk/>
            <pc:sldMk cId="4187236008" sldId="2146847662"/>
            <ac:spMk id="29" creationId="{31FE11C4-2371-67EA-5937-89226C91E397}"/>
          </ac:spMkLst>
        </pc:spChg>
        <pc:spChg chg="add mod">
          <ac:chgData name="Siddhartha Paul" userId="0f6d2a28-7c6e-4106-a327-1058fe8b7c05" providerId="ADAL" clId="{C15EC1BA-EE25-4672-92A2-9249CEBF869C}" dt="2024-02-22T07:04:47.465" v="12174"/>
          <ac:spMkLst>
            <pc:docMk/>
            <pc:sldMk cId="4187236008" sldId="2146847662"/>
            <ac:spMk id="31" creationId="{A3FA1DA3-BA02-FB8D-AE40-1157995C9308}"/>
          </ac:spMkLst>
        </pc:spChg>
        <pc:spChg chg="add mod">
          <ac:chgData name="Siddhartha Paul" userId="0f6d2a28-7c6e-4106-a327-1058fe8b7c05" providerId="ADAL" clId="{C15EC1BA-EE25-4672-92A2-9249CEBF869C}" dt="2024-02-22T06:56:23.138" v="11891"/>
          <ac:spMkLst>
            <pc:docMk/>
            <pc:sldMk cId="4187236008" sldId="2146847662"/>
            <ac:spMk id="33" creationId="{396ED287-BCC0-D449-7BC2-AEBC88FF8446}"/>
          </ac:spMkLst>
        </pc:spChg>
        <pc:spChg chg="mod">
          <ac:chgData name="Siddhartha Paul" userId="0f6d2a28-7c6e-4106-a327-1058fe8b7c05" providerId="ADAL" clId="{C15EC1BA-EE25-4672-92A2-9249CEBF869C}" dt="2024-02-21T07:42:52.839" v="8338" actId="164"/>
          <ac:spMkLst>
            <pc:docMk/>
            <pc:sldMk cId="4187236008" sldId="2146847662"/>
            <ac:spMk id="37" creationId="{D502755E-A422-D46F-875E-1380438D42ED}"/>
          </ac:spMkLst>
        </pc:spChg>
        <pc:spChg chg="mod">
          <ac:chgData name="Siddhartha Paul" userId="0f6d2a28-7c6e-4106-a327-1058fe8b7c05" providerId="ADAL" clId="{C15EC1BA-EE25-4672-92A2-9249CEBF869C}" dt="2024-02-21T07:42:47.790" v="8337" actId="164"/>
          <ac:spMkLst>
            <pc:docMk/>
            <pc:sldMk cId="4187236008" sldId="2146847662"/>
            <ac:spMk id="38" creationId="{EE4490DC-6215-FFA0-5FCD-ED8B65EEA061}"/>
          </ac:spMkLst>
        </pc:spChg>
        <pc:spChg chg="mod">
          <ac:chgData name="Siddhartha Paul" userId="0f6d2a28-7c6e-4106-a327-1058fe8b7c05" providerId="ADAL" clId="{C15EC1BA-EE25-4672-92A2-9249CEBF869C}" dt="2024-02-21T07:42:41.037" v="8336" actId="164"/>
          <ac:spMkLst>
            <pc:docMk/>
            <pc:sldMk cId="4187236008" sldId="2146847662"/>
            <ac:spMk id="39" creationId="{5EAAFF63-76BB-77C1-AD25-B017AFB9C66C}"/>
          </ac:spMkLst>
        </pc:spChg>
        <pc:spChg chg="mod">
          <ac:chgData name="Siddhartha Paul" userId="0f6d2a28-7c6e-4106-a327-1058fe8b7c05" providerId="ADAL" clId="{C15EC1BA-EE25-4672-92A2-9249CEBF869C}" dt="2024-02-21T07:42:30.740" v="8335" actId="164"/>
          <ac:spMkLst>
            <pc:docMk/>
            <pc:sldMk cId="4187236008" sldId="2146847662"/>
            <ac:spMk id="40" creationId="{0C5E35E4-D5AB-EBDF-2592-FC2797B7F033}"/>
          </ac:spMkLst>
        </pc:spChg>
        <pc:spChg chg="del">
          <ac:chgData name="Siddhartha Paul" userId="0f6d2a28-7c6e-4106-a327-1058fe8b7c05" providerId="ADAL" clId="{C15EC1BA-EE25-4672-92A2-9249CEBF869C}" dt="2024-02-21T07:42:18.050" v="8333" actId="478"/>
          <ac:spMkLst>
            <pc:docMk/>
            <pc:sldMk cId="4187236008" sldId="2146847662"/>
            <ac:spMk id="41" creationId="{0481EFFD-D1D2-143F-196D-EE3C10973B63}"/>
          </ac:spMkLst>
        </pc:spChg>
        <pc:spChg chg="mod">
          <ac:chgData name="Siddhartha Paul" userId="0f6d2a28-7c6e-4106-a327-1058fe8b7c05" providerId="ADAL" clId="{C15EC1BA-EE25-4672-92A2-9249CEBF869C}" dt="2024-02-22T10:45:11.743" v="12719" actId="20577"/>
          <ac:spMkLst>
            <pc:docMk/>
            <pc:sldMk cId="4187236008" sldId="2146847662"/>
            <ac:spMk id="42" creationId="{AAAD5BCB-3AE2-2E01-6FDB-CC96BD119124}"/>
          </ac:spMkLst>
        </pc:spChg>
        <pc:spChg chg="mod">
          <ac:chgData name="Siddhartha Paul" userId="0f6d2a28-7c6e-4106-a327-1058fe8b7c05" providerId="ADAL" clId="{C15EC1BA-EE25-4672-92A2-9249CEBF869C}" dt="2024-02-22T05:20:03.049" v="10676" actId="255"/>
          <ac:spMkLst>
            <pc:docMk/>
            <pc:sldMk cId="4187236008" sldId="2146847662"/>
            <ac:spMk id="43" creationId="{252B6A0A-CB92-A9CF-F52D-7EBA4D3B0DE5}"/>
          </ac:spMkLst>
        </pc:spChg>
        <pc:spChg chg="mod">
          <ac:chgData name="Siddhartha Paul" userId="0f6d2a28-7c6e-4106-a327-1058fe8b7c05" providerId="ADAL" clId="{C15EC1BA-EE25-4672-92A2-9249CEBF869C}" dt="2024-02-22T05:20:18.196" v="10679" actId="255"/>
          <ac:spMkLst>
            <pc:docMk/>
            <pc:sldMk cId="4187236008" sldId="2146847662"/>
            <ac:spMk id="44" creationId="{8677EF50-DEDD-E887-6CE1-39C040F5D727}"/>
          </ac:spMkLst>
        </pc:spChg>
        <pc:spChg chg="mod">
          <ac:chgData name="Siddhartha Paul" userId="0f6d2a28-7c6e-4106-a327-1058fe8b7c05" providerId="ADAL" clId="{C15EC1BA-EE25-4672-92A2-9249CEBF869C}" dt="2024-02-22T05:20:22.048" v="10680" actId="255"/>
          <ac:spMkLst>
            <pc:docMk/>
            <pc:sldMk cId="4187236008" sldId="2146847662"/>
            <ac:spMk id="45" creationId="{180BCFC7-3155-D3EF-46B3-3B30466F7E16}"/>
          </ac:spMkLst>
        </pc:spChg>
        <pc:spChg chg="del">
          <ac:chgData name="Siddhartha Paul" userId="0f6d2a28-7c6e-4106-a327-1058fe8b7c05" providerId="ADAL" clId="{C15EC1BA-EE25-4672-92A2-9249CEBF869C}" dt="2024-02-21T07:42:18.050" v="8333" actId="478"/>
          <ac:spMkLst>
            <pc:docMk/>
            <pc:sldMk cId="4187236008" sldId="2146847662"/>
            <ac:spMk id="46" creationId="{094B864E-8CE0-21D2-4B87-D878A3E3CDF1}"/>
          </ac:spMkLst>
        </pc:spChg>
        <pc:spChg chg="mod">
          <ac:chgData name="Siddhartha Paul" userId="0f6d2a28-7c6e-4106-a327-1058fe8b7c05" providerId="ADAL" clId="{C15EC1BA-EE25-4672-92A2-9249CEBF869C}" dt="2024-02-22T10:45:00.674" v="12713" actId="20577"/>
          <ac:spMkLst>
            <pc:docMk/>
            <pc:sldMk cId="4187236008" sldId="2146847662"/>
            <ac:spMk id="47" creationId="{4BDC7CEB-29A2-2105-0B53-4B75D713AE6F}"/>
          </ac:spMkLst>
        </pc:spChg>
        <pc:spChg chg="mod">
          <ac:chgData name="Siddhartha Paul" userId="0f6d2a28-7c6e-4106-a327-1058fe8b7c05" providerId="ADAL" clId="{C15EC1BA-EE25-4672-92A2-9249CEBF869C}" dt="2024-02-22T05:20:36.330" v="10684" actId="1076"/>
          <ac:spMkLst>
            <pc:docMk/>
            <pc:sldMk cId="4187236008" sldId="2146847662"/>
            <ac:spMk id="48" creationId="{555B9486-D182-05EE-AB38-12355D4D8B27}"/>
          </ac:spMkLst>
        </pc:spChg>
        <pc:spChg chg="mod">
          <ac:chgData name="Siddhartha Paul" userId="0f6d2a28-7c6e-4106-a327-1058fe8b7c05" providerId="ADAL" clId="{C15EC1BA-EE25-4672-92A2-9249CEBF869C}" dt="2024-02-22T05:20:29.076" v="10682" actId="1076"/>
          <ac:spMkLst>
            <pc:docMk/>
            <pc:sldMk cId="4187236008" sldId="2146847662"/>
            <ac:spMk id="49" creationId="{A944723B-8311-15D4-0A59-0EA9D9540C36}"/>
          </ac:spMkLst>
        </pc:spChg>
        <pc:spChg chg="mod">
          <ac:chgData name="Siddhartha Paul" userId="0f6d2a28-7c6e-4106-a327-1058fe8b7c05" providerId="ADAL" clId="{C15EC1BA-EE25-4672-92A2-9249CEBF869C}" dt="2024-02-22T04:45:26.758" v="10315" actId="1038"/>
          <ac:spMkLst>
            <pc:docMk/>
            <pc:sldMk cId="4187236008" sldId="2146847662"/>
            <ac:spMk id="50" creationId="{FAFC66DE-CFF6-531D-D4D0-53C990D04DA3}"/>
          </ac:spMkLst>
        </pc:spChg>
        <pc:spChg chg="del">
          <ac:chgData name="Siddhartha Paul" userId="0f6d2a28-7c6e-4106-a327-1058fe8b7c05" providerId="ADAL" clId="{C15EC1BA-EE25-4672-92A2-9249CEBF869C}" dt="2024-02-21T07:42:20.590" v="8334" actId="478"/>
          <ac:spMkLst>
            <pc:docMk/>
            <pc:sldMk cId="4187236008" sldId="2146847662"/>
            <ac:spMk id="51" creationId="{183D92FF-56E8-2574-C979-0BBD29067556}"/>
          </ac:spMkLst>
        </pc:spChg>
        <pc:grpChg chg="add mod">
          <ac:chgData name="Siddhartha Paul" userId="0f6d2a28-7c6e-4106-a327-1058fe8b7c05" providerId="ADAL" clId="{C15EC1BA-EE25-4672-92A2-9249CEBF869C}" dt="2024-02-21T07:43:15.985" v="8373" actId="164"/>
          <ac:grpSpMkLst>
            <pc:docMk/>
            <pc:sldMk cId="4187236008" sldId="2146847662"/>
            <ac:grpSpMk id="2" creationId="{C7158800-6DFD-3FBF-5AF1-3A5C1D1004AA}"/>
          </ac:grpSpMkLst>
        </pc:grpChg>
        <pc:grpChg chg="add mod">
          <ac:chgData name="Siddhartha Paul" userId="0f6d2a28-7c6e-4106-a327-1058fe8b7c05" providerId="ADAL" clId="{C15EC1BA-EE25-4672-92A2-9249CEBF869C}" dt="2024-02-21T07:43:15.985" v="8373" actId="164"/>
          <ac:grpSpMkLst>
            <pc:docMk/>
            <pc:sldMk cId="4187236008" sldId="2146847662"/>
            <ac:grpSpMk id="4" creationId="{392E313D-814C-CD47-51F0-2A36FA052DDE}"/>
          </ac:grpSpMkLst>
        </pc:grpChg>
        <pc:grpChg chg="add mod">
          <ac:chgData name="Siddhartha Paul" userId="0f6d2a28-7c6e-4106-a327-1058fe8b7c05" providerId="ADAL" clId="{C15EC1BA-EE25-4672-92A2-9249CEBF869C}" dt="2024-02-21T07:43:15.985" v="8373" actId="164"/>
          <ac:grpSpMkLst>
            <pc:docMk/>
            <pc:sldMk cId="4187236008" sldId="2146847662"/>
            <ac:grpSpMk id="8" creationId="{EB858192-2415-414E-10DA-6ED6C828171A}"/>
          </ac:grpSpMkLst>
        </pc:grpChg>
        <pc:grpChg chg="add mod">
          <ac:chgData name="Siddhartha Paul" userId="0f6d2a28-7c6e-4106-a327-1058fe8b7c05" providerId="ADAL" clId="{C15EC1BA-EE25-4672-92A2-9249CEBF869C}" dt="2024-02-21T07:43:15.985" v="8373" actId="164"/>
          <ac:grpSpMkLst>
            <pc:docMk/>
            <pc:sldMk cId="4187236008" sldId="2146847662"/>
            <ac:grpSpMk id="9" creationId="{A5C5C01C-AB85-0D6E-A435-C14F63A3399E}"/>
          </ac:grpSpMkLst>
        </pc:grpChg>
        <pc:grpChg chg="add mod">
          <ac:chgData name="Siddhartha Paul" userId="0f6d2a28-7c6e-4106-a327-1058fe8b7c05" providerId="ADAL" clId="{C15EC1BA-EE25-4672-92A2-9249CEBF869C}" dt="2024-02-21T07:43:21.970" v="8376" actId="12788"/>
          <ac:grpSpMkLst>
            <pc:docMk/>
            <pc:sldMk cId="4187236008" sldId="2146847662"/>
            <ac:grpSpMk id="13" creationId="{8EEEF77D-E2C5-1E45-4E20-C68244772591}"/>
          </ac:grpSpMkLst>
        </pc:grpChg>
        <pc:picChg chg="add mod">
          <ac:chgData name="Siddhartha Paul" userId="0f6d2a28-7c6e-4106-a327-1058fe8b7c05" providerId="ADAL" clId="{C15EC1BA-EE25-4672-92A2-9249CEBF869C}" dt="2024-02-22T10:43:52.314" v="12593" actId="1037"/>
          <ac:picMkLst>
            <pc:docMk/>
            <pc:sldMk cId="4187236008" sldId="2146847662"/>
            <ac:picMk id="2050" creationId="{21E058A9-9B47-4E54-09EC-B290F0F9FC28}"/>
          </ac:picMkLst>
        </pc:picChg>
        <pc:picChg chg="add del">
          <ac:chgData name="Siddhartha Paul" userId="0f6d2a28-7c6e-4106-a327-1058fe8b7c05" providerId="ADAL" clId="{C15EC1BA-EE25-4672-92A2-9249CEBF869C}" dt="2024-02-22T04:54:25.431" v="10370" actId="478"/>
          <ac:picMkLst>
            <pc:docMk/>
            <pc:sldMk cId="4187236008" sldId="2146847662"/>
            <ac:picMk id="2052" creationId="{E8B7CB46-6EC0-4704-4441-25E25B8E3529}"/>
          </ac:picMkLst>
        </pc:picChg>
        <pc:picChg chg="add mod">
          <ac:chgData name="Siddhartha Paul" userId="0f6d2a28-7c6e-4106-a327-1058fe8b7c05" providerId="ADAL" clId="{C15EC1BA-EE25-4672-92A2-9249CEBF869C}" dt="2024-02-22T10:43:52.314" v="12593" actId="1037"/>
          <ac:picMkLst>
            <pc:docMk/>
            <pc:sldMk cId="4187236008" sldId="2146847662"/>
            <ac:picMk id="2054" creationId="{ECC3EFEF-275A-336C-3F20-247CA53C20E4}"/>
          </ac:picMkLst>
        </pc:picChg>
        <pc:picChg chg="add mod">
          <ac:chgData name="Siddhartha Paul" userId="0f6d2a28-7c6e-4106-a327-1058fe8b7c05" providerId="ADAL" clId="{C15EC1BA-EE25-4672-92A2-9249CEBF869C}" dt="2024-02-22T10:43:52.314" v="12593" actId="1037"/>
          <ac:picMkLst>
            <pc:docMk/>
            <pc:sldMk cId="4187236008" sldId="2146847662"/>
            <ac:picMk id="2056" creationId="{6F0B04C5-6BEE-738E-F48B-85696C87157B}"/>
          </ac:picMkLst>
        </pc:picChg>
        <pc:picChg chg="add mod">
          <ac:chgData name="Siddhartha Paul" userId="0f6d2a28-7c6e-4106-a327-1058fe8b7c05" providerId="ADAL" clId="{C15EC1BA-EE25-4672-92A2-9249CEBF869C}" dt="2024-02-22T10:43:52.314" v="12593" actId="1037"/>
          <ac:picMkLst>
            <pc:docMk/>
            <pc:sldMk cId="4187236008" sldId="2146847662"/>
            <ac:picMk id="2058" creationId="{6BE8BB31-E4AB-ACA0-3DF5-2B43C2A6DF8D}"/>
          </ac:picMkLst>
        </pc:picChg>
        <pc:cxnChg chg="mod">
          <ac:chgData name="Siddhartha Paul" userId="0f6d2a28-7c6e-4106-a327-1058fe8b7c05" providerId="ADAL" clId="{C15EC1BA-EE25-4672-92A2-9249CEBF869C}" dt="2024-02-21T07:42:52.839" v="8338" actId="164"/>
          <ac:cxnSpMkLst>
            <pc:docMk/>
            <pc:sldMk cId="4187236008" sldId="2146847662"/>
            <ac:cxnSpMk id="23" creationId="{EE022894-9482-102F-9783-E2102863656A}"/>
          </ac:cxnSpMkLst>
        </pc:cxnChg>
        <pc:cxnChg chg="mod">
          <ac:chgData name="Siddhartha Paul" userId="0f6d2a28-7c6e-4106-a327-1058fe8b7c05" providerId="ADAL" clId="{C15EC1BA-EE25-4672-92A2-9249CEBF869C}" dt="2024-02-21T07:42:47.790" v="8337" actId="164"/>
          <ac:cxnSpMkLst>
            <pc:docMk/>
            <pc:sldMk cId="4187236008" sldId="2146847662"/>
            <ac:cxnSpMk id="28" creationId="{76511960-5A9C-FA4E-B761-18C2FA9970FD}"/>
          </ac:cxnSpMkLst>
        </pc:cxnChg>
        <pc:cxnChg chg="mod">
          <ac:chgData name="Siddhartha Paul" userId="0f6d2a28-7c6e-4106-a327-1058fe8b7c05" providerId="ADAL" clId="{C15EC1BA-EE25-4672-92A2-9249CEBF869C}" dt="2024-02-21T07:42:41.037" v="8336" actId="164"/>
          <ac:cxnSpMkLst>
            <pc:docMk/>
            <pc:sldMk cId="4187236008" sldId="2146847662"/>
            <ac:cxnSpMk id="30" creationId="{3F67A32A-F0E6-BEDB-EA82-E1DA1F5DF578}"/>
          </ac:cxnSpMkLst>
        </pc:cxnChg>
        <pc:cxnChg chg="mod">
          <ac:chgData name="Siddhartha Paul" userId="0f6d2a28-7c6e-4106-a327-1058fe8b7c05" providerId="ADAL" clId="{C15EC1BA-EE25-4672-92A2-9249CEBF869C}" dt="2024-02-21T07:42:30.740" v="8335" actId="164"/>
          <ac:cxnSpMkLst>
            <pc:docMk/>
            <pc:sldMk cId="4187236008" sldId="2146847662"/>
            <ac:cxnSpMk id="32" creationId="{B44E4C13-F049-44BB-06CC-3C6E21F45A40}"/>
          </ac:cxnSpMkLst>
        </pc:cxnChg>
        <pc:cxnChg chg="del mod">
          <ac:chgData name="Siddhartha Paul" userId="0f6d2a28-7c6e-4106-a327-1058fe8b7c05" providerId="ADAL" clId="{C15EC1BA-EE25-4672-92A2-9249CEBF869C}" dt="2024-02-21T07:42:18.050" v="8333" actId="478"/>
          <ac:cxnSpMkLst>
            <pc:docMk/>
            <pc:sldMk cId="4187236008" sldId="2146847662"/>
            <ac:cxnSpMk id="34" creationId="{1F767223-FAB2-1367-CE52-B1DC34294839}"/>
          </ac:cxnSpMkLst>
        </pc:cxnChg>
      </pc:sldChg>
      <pc:sldChg chg="modSp del">
        <pc:chgData name="Siddhartha Paul" userId="0f6d2a28-7c6e-4106-a327-1058fe8b7c05" providerId="ADAL" clId="{C15EC1BA-EE25-4672-92A2-9249CEBF869C}" dt="2024-02-21T06:50:03.828" v="7025" actId="47"/>
        <pc:sldMkLst>
          <pc:docMk/>
          <pc:sldMk cId="2062242351" sldId="2146847663"/>
        </pc:sldMkLst>
        <pc:picChg chg="mod">
          <ac:chgData name="Siddhartha Paul" userId="0f6d2a28-7c6e-4106-a327-1058fe8b7c05" providerId="ADAL" clId="{C15EC1BA-EE25-4672-92A2-9249CEBF869C}" dt="2024-02-21T06:28:11.595" v="6800" actId="732"/>
          <ac:picMkLst>
            <pc:docMk/>
            <pc:sldMk cId="2062242351" sldId="2146847663"/>
            <ac:picMk id="4098" creationId="{AA498E87-E11C-9D6D-C6DF-626D8B3990A8}"/>
          </ac:picMkLst>
        </pc:picChg>
      </pc:sldChg>
      <pc:sldChg chg="addSp delSp modSp add mod">
        <pc:chgData name="Siddhartha Paul" userId="0f6d2a28-7c6e-4106-a327-1058fe8b7c05" providerId="ADAL" clId="{C15EC1BA-EE25-4672-92A2-9249CEBF869C}" dt="2024-02-22T07:04:30.179" v="12169"/>
        <pc:sldMkLst>
          <pc:docMk/>
          <pc:sldMk cId="2302351919" sldId="2146847664"/>
        </pc:sldMkLst>
        <pc:spChg chg="add del mod">
          <ac:chgData name="Siddhartha Paul" userId="0f6d2a28-7c6e-4106-a327-1058fe8b7c05" providerId="ADAL" clId="{C15EC1BA-EE25-4672-92A2-9249CEBF869C}" dt="2024-02-21T05:40:32.008" v="5455" actId="478"/>
          <ac:spMkLst>
            <pc:docMk/>
            <pc:sldMk cId="2302351919" sldId="2146847664"/>
            <ac:spMk id="2" creationId="{35E612FC-7ABF-F71A-0E87-44C3FEE3F262}"/>
          </ac:spMkLst>
        </pc:spChg>
        <pc:spChg chg="add mod">
          <ac:chgData name="Siddhartha Paul" userId="0f6d2a28-7c6e-4106-a327-1058fe8b7c05" providerId="ADAL" clId="{C15EC1BA-EE25-4672-92A2-9249CEBF869C}" dt="2024-02-21T07:06:27.281" v="7337" actId="1037"/>
          <ac:spMkLst>
            <pc:docMk/>
            <pc:sldMk cId="2302351919" sldId="2146847664"/>
            <ac:spMk id="2" creationId="{C6049667-DDB9-FD45-A945-FC7AA1EF5872}"/>
          </ac:spMkLst>
        </pc:spChg>
        <pc:spChg chg="add del mod">
          <ac:chgData name="Siddhartha Paul" userId="0f6d2a28-7c6e-4106-a327-1058fe8b7c05" providerId="ADAL" clId="{C15EC1BA-EE25-4672-92A2-9249CEBF869C}" dt="2024-02-21T05:40:32.008" v="5455" actId="478"/>
          <ac:spMkLst>
            <pc:docMk/>
            <pc:sldMk cId="2302351919" sldId="2146847664"/>
            <ac:spMk id="3" creationId="{19573EB3-CDBC-D07F-407B-DBF498C305F7}"/>
          </ac:spMkLst>
        </pc:spChg>
        <pc:spChg chg="add mod">
          <ac:chgData name="Siddhartha Paul" userId="0f6d2a28-7c6e-4106-a327-1058fe8b7c05" providerId="ADAL" clId="{C15EC1BA-EE25-4672-92A2-9249CEBF869C}" dt="2024-02-21T07:06:27.281" v="7337" actId="1037"/>
          <ac:spMkLst>
            <pc:docMk/>
            <pc:sldMk cId="2302351919" sldId="2146847664"/>
            <ac:spMk id="3" creationId="{BB4DE4EF-C4B8-6338-C82C-CF654B8BC6A4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4" creationId="{29752D76-9706-0FED-1013-03E923078ACD}"/>
          </ac:spMkLst>
        </pc:spChg>
        <pc:spChg chg="add del mod">
          <ac:chgData name="Siddhartha Paul" userId="0f6d2a28-7c6e-4106-a327-1058fe8b7c05" providerId="ADAL" clId="{C15EC1BA-EE25-4672-92A2-9249CEBF869C}" dt="2024-02-22T06:56:01.712" v="11878" actId="478"/>
          <ac:spMkLst>
            <pc:docMk/>
            <pc:sldMk cId="2302351919" sldId="2146847664"/>
            <ac:spMk id="4" creationId="{F960CA86-A30B-830E-DEEF-7E8379C3BEBE}"/>
          </ac:spMkLst>
        </pc:spChg>
        <pc:spChg chg="add del mod">
          <ac:chgData name="Siddhartha Paul" userId="0f6d2a28-7c6e-4106-a327-1058fe8b7c05" providerId="ADAL" clId="{C15EC1BA-EE25-4672-92A2-9249CEBF869C}" dt="2024-02-21T05:40:32.008" v="5455" actId="478"/>
          <ac:spMkLst>
            <pc:docMk/>
            <pc:sldMk cId="2302351919" sldId="2146847664"/>
            <ac:spMk id="5" creationId="{59C93A8A-FA63-654C-AEAE-F23C733E0979}"/>
          </ac:spMkLst>
        </pc:spChg>
        <pc:spChg chg="add del mod">
          <ac:chgData name="Siddhartha Paul" userId="0f6d2a28-7c6e-4106-a327-1058fe8b7c05" providerId="ADAL" clId="{C15EC1BA-EE25-4672-92A2-9249CEBF869C}" dt="2024-02-22T06:21:10.129" v="11517" actId="478"/>
          <ac:spMkLst>
            <pc:docMk/>
            <pc:sldMk cId="2302351919" sldId="2146847664"/>
            <ac:spMk id="5" creationId="{951CF213-FBED-5032-5B9B-FABAC888FB2D}"/>
          </ac:spMkLst>
        </pc:spChg>
        <pc:spChg chg="add mod">
          <ac:chgData name="Siddhartha Paul" userId="0f6d2a28-7c6e-4106-a327-1058fe8b7c05" providerId="ADAL" clId="{C15EC1BA-EE25-4672-92A2-9249CEBF869C}" dt="2024-02-22T05:40:01.776" v="10938" actId="207"/>
          <ac:spMkLst>
            <pc:docMk/>
            <pc:sldMk cId="2302351919" sldId="2146847664"/>
            <ac:spMk id="6" creationId="{37C1EC87-5EB7-E8F0-57EA-DFB0E0B4D347}"/>
          </ac:spMkLst>
        </pc:spChg>
        <pc:spChg chg="add del mod">
          <ac:chgData name="Siddhartha Paul" userId="0f6d2a28-7c6e-4106-a327-1058fe8b7c05" providerId="ADAL" clId="{C15EC1BA-EE25-4672-92A2-9249CEBF869C}" dt="2024-02-21T05:40:18.654" v="5453" actId="478"/>
          <ac:spMkLst>
            <pc:docMk/>
            <pc:sldMk cId="2302351919" sldId="2146847664"/>
            <ac:spMk id="6" creationId="{E0122CEE-8D32-4627-EFFD-50B69F18144A}"/>
          </ac:spMkLst>
        </pc:spChg>
        <pc:spChg chg="mod">
          <ac:chgData name="Siddhartha Paul" userId="0f6d2a28-7c6e-4106-a327-1058fe8b7c05" providerId="ADAL" clId="{C15EC1BA-EE25-4672-92A2-9249CEBF869C}" dt="2024-02-21T05:37:20.216" v="5432" actId="20577"/>
          <ac:spMkLst>
            <pc:docMk/>
            <pc:sldMk cId="2302351919" sldId="2146847664"/>
            <ac:spMk id="7" creationId="{238D0DE0-522F-29B0-8202-964439F707B1}"/>
          </ac:spMkLst>
        </pc:spChg>
        <pc:spChg chg="add mod">
          <ac:chgData name="Siddhartha Paul" userId="0f6d2a28-7c6e-4106-a327-1058fe8b7c05" providerId="ADAL" clId="{C15EC1BA-EE25-4672-92A2-9249CEBF869C}" dt="2024-02-21T05:45:34.301" v="5545" actId="113"/>
          <ac:spMkLst>
            <pc:docMk/>
            <pc:sldMk cId="2302351919" sldId="2146847664"/>
            <ac:spMk id="8" creationId="{28218CA9-D0A9-82A5-1AC7-D32A782DCC18}"/>
          </ac:spMkLst>
        </pc:spChg>
        <pc:spChg chg="add mod">
          <ac:chgData name="Siddhartha Paul" userId="0f6d2a28-7c6e-4106-a327-1058fe8b7c05" providerId="ADAL" clId="{C15EC1BA-EE25-4672-92A2-9249CEBF869C}" dt="2024-02-22T05:39:51.742" v="10937"/>
          <ac:spMkLst>
            <pc:docMk/>
            <pc:sldMk cId="2302351919" sldId="2146847664"/>
            <ac:spMk id="9" creationId="{AF998E1E-DD0D-7A9D-A9F0-0EC9C15D3467}"/>
          </ac:spMkLst>
        </pc:spChg>
        <pc:spChg chg="add del mod">
          <ac:chgData name="Siddhartha Paul" userId="0f6d2a28-7c6e-4106-a327-1058fe8b7c05" providerId="ADAL" clId="{C15EC1BA-EE25-4672-92A2-9249CEBF869C}" dt="2024-02-21T05:44:06.262" v="5487" actId="478"/>
          <ac:spMkLst>
            <pc:docMk/>
            <pc:sldMk cId="2302351919" sldId="2146847664"/>
            <ac:spMk id="9" creationId="{E3D99619-C8B2-9C07-F0A8-CF9C390EABC1}"/>
          </ac:spMkLst>
        </pc:spChg>
        <pc:spChg chg="add mod">
          <ac:chgData name="Siddhartha Paul" userId="0f6d2a28-7c6e-4106-a327-1058fe8b7c05" providerId="ADAL" clId="{C15EC1BA-EE25-4672-92A2-9249CEBF869C}" dt="2024-02-22T05:39:51.742" v="10937"/>
          <ac:spMkLst>
            <pc:docMk/>
            <pc:sldMk cId="2302351919" sldId="2146847664"/>
            <ac:spMk id="10" creationId="{2DC5383A-F78A-9621-495C-04CEDE636428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10" creationId="{F6D64140-1685-B7BE-1AF9-A46EAC360764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11" creationId="{07AFE942-54D7-E14C-D20C-F76E12B9DC99}"/>
          </ac:spMkLst>
        </pc:spChg>
        <pc:spChg chg="add mod">
          <ac:chgData name="Siddhartha Paul" userId="0f6d2a28-7c6e-4106-a327-1058fe8b7c05" providerId="ADAL" clId="{C15EC1BA-EE25-4672-92A2-9249CEBF869C}" dt="2024-02-22T05:39:51.742" v="10937"/>
          <ac:spMkLst>
            <pc:docMk/>
            <pc:sldMk cId="2302351919" sldId="2146847664"/>
            <ac:spMk id="11" creationId="{CF365CCB-52FD-0E40-8084-C8F0A2CE869E}"/>
          </ac:spMkLst>
        </pc:spChg>
        <pc:spChg chg="add del mod">
          <ac:chgData name="Siddhartha Paul" userId="0f6d2a28-7c6e-4106-a327-1058fe8b7c05" providerId="ADAL" clId="{C15EC1BA-EE25-4672-92A2-9249CEBF869C}" dt="2024-02-22T06:21:33.488" v="11519" actId="478"/>
          <ac:spMkLst>
            <pc:docMk/>
            <pc:sldMk cId="2302351919" sldId="2146847664"/>
            <ac:spMk id="12" creationId="{497BA3B3-DE3C-AC56-9CB1-D43242E8CBE1}"/>
          </ac:spMkLst>
        </pc:spChg>
        <pc:spChg chg="add del mod">
          <ac:chgData name="Siddhartha Paul" userId="0f6d2a28-7c6e-4106-a327-1058fe8b7c05" providerId="ADAL" clId="{C15EC1BA-EE25-4672-92A2-9249CEBF869C}" dt="2024-02-21T05:44:06.262" v="5487" actId="478"/>
          <ac:spMkLst>
            <pc:docMk/>
            <pc:sldMk cId="2302351919" sldId="2146847664"/>
            <ac:spMk id="12" creationId="{E1190838-E256-A9F6-1D6E-DBDC0D3711D0}"/>
          </ac:spMkLst>
        </pc:spChg>
        <pc:spChg chg="add mod">
          <ac:chgData name="Siddhartha Paul" userId="0f6d2a28-7c6e-4106-a327-1058fe8b7c05" providerId="ADAL" clId="{C15EC1BA-EE25-4672-92A2-9249CEBF869C}" dt="2024-02-22T07:04:30.179" v="12169"/>
          <ac:spMkLst>
            <pc:docMk/>
            <pc:sldMk cId="2302351919" sldId="2146847664"/>
            <ac:spMk id="13" creationId="{4D9A0141-AACB-9882-1145-C6C00AA1A03D}"/>
          </ac:spMkLst>
        </pc:spChg>
        <pc:spChg chg="add del">
          <ac:chgData name="Siddhartha Paul" userId="0f6d2a28-7c6e-4106-a327-1058fe8b7c05" providerId="ADAL" clId="{C15EC1BA-EE25-4672-92A2-9249CEBF869C}" dt="2024-02-21T05:44:06.262" v="5487" actId="478"/>
          <ac:spMkLst>
            <pc:docMk/>
            <pc:sldMk cId="2302351919" sldId="2146847664"/>
            <ac:spMk id="13" creationId="{58DF0BDD-5975-0AAF-5FBA-9083F03C2C2E}"/>
          </ac:spMkLst>
        </pc:spChg>
        <pc:spChg chg="add mod">
          <ac:chgData name="Siddhartha Paul" userId="0f6d2a28-7c6e-4106-a327-1058fe8b7c05" providerId="ADAL" clId="{C15EC1BA-EE25-4672-92A2-9249CEBF869C}" dt="2024-02-22T06:56:02.109" v="11879"/>
          <ac:spMkLst>
            <pc:docMk/>
            <pc:sldMk cId="2302351919" sldId="2146847664"/>
            <ac:spMk id="14" creationId="{D3DD27DD-9855-7FA1-57DB-E11C7216E4DD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15" creationId="{BD918466-6220-186B-123E-1EB1E886545B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16" creationId="{2E3FFDC7-1DCF-57E2-C0FC-8621BA779B17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17" creationId="{0A9E56AC-59BE-62D8-B480-32D54330889C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18" creationId="{94EDEA24-81EE-30A7-C50B-E47F1D2094C8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19" creationId="{360F9146-BFBF-14FB-D820-13435699CDB1}"/>
          </ac:spMkLst>
        </pc:spChg>
        <pc:spChg chg="add mod">
          <ac:chgData name="Siddhartha Paul" userId="0f6d2a28-7c6e-4106-a327-1058fe8b7c05" providerId="ADAL" clId="{C15EC1BA-EE25-4672-92A2-9249CEBF869C}" dt="2024-02-21T06:08:49.216" v="6321" actId="20577"/>
          <ac:spMkLst>
            <pc:docMk/>
            <pc:sldMk cId="2302351919" sldId="2146847664"/>
            <ac:spMk id="20" creationId="{9AEC876F-59F2-BB5F-FD8E-ADE5BC3A814D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21" creationId="{05D0E83D-BB61-0265-9374-EE903B20A2D3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22" creationId="{3DC848A9-9496-0034-A81B-D312A7393E96}"/>
          </ac:spMkLst>
        </pc:spChg>
        <pc:spChg chg="add mod">
          <ac:chgData name="Siddhartha Paul" userId="0f6d2a28-7c6e-4106-a327-1058fe8b7c05" providerId="ADAL" clId="{C15EC1BA-EE25-4672-92A2-9249CEBF869C}" dt="2024-02-21T06:08:56.382" v="6344" actId="20577"/>
          <ac:spMkLst>
            <pc:docMk/>
            <pc:sldMk cId="2302351919" sldId="2146847664"/>
            <ac:spMk id="23" creationId="{51373F44-CDF5-FD5F-B761-53DB1E320FF4}"/>
          </ac:spMkLst>
        </pc:spChg>
        <pc:spChg chg="add mod topLvl">
          <ac:chgData name="Siddhartha Paul" userId="0f6d2a28-7c6e-4106-a327-1058fe8b7c05" providerId="ADAL" clId="{C15EC1BA-EE25-4672-92A2-9249CEBF869C}" dt="2024-02-21T07:06:00.394" v="7290" actId="165"/>
          <ac:spMkLst>
            <pc:docMk/>
            <pc:sldMk cId="2302351919" sldId="2146847664"/>
            <ac:spMk id="24" creationId="{FF439935-82D7-E5FB-264E-D143327B1E6D}"/>
          </ac:spMkLst>
        </pc:spChg>
        <pc:spChg chg="add mod topLvl">
          <ac:chgData name="Siddhartha Paul" userId="0f6d2a28-7c6e-4106-a327-1058fe8b7c05" providerId="ADAL" clId="{C15EC1BA-EE25-4672-92A2-9249CEBF869C}" dt="2024-02-21T07:06:00.394" v="7290" actId="165"/>
          <ac:spMkLst>
            <pc:docMk/>
            <pc:sldMk cId="2302351919" sldId="2146847664"/>
            <ac:spMk id="25" creationId="{2980A467-A2CE-AC35-F011-858D8CBCE24B}"/>
          </ac:spMkLst>
        </pc:spChg>
        <pc:spChg chg="add mod topLvl">
          <ac:chgData name="Siddhartha Paul" userId="0f6d2a28-7c6e-4106-a327-1058fe8b7c05" providerId="ADAL" clId="{C15EC1BA-EE25-4672-92A2-9249CEBF869C}" dt="2024-02-21T07:06:00.394" v="7290" actId="165"/>
          <ac:spMkLst>
            <pc:docMk/>
            <pc:sldMk cId="2302351919" sldId="2146847664"/>
            <ac:spMk id="26" creationId="{5A439572-A960-881A-E89A-8B9E38269A00}"/>
          </ac:spMkLst>
        </pc:spChg>
        <pc:spChg chg="add mod topLvl">
          <ac:chgData name="Siddhartha Paul" userId="0f6d2a28-7c6e-4106-a327-1058fe8b7c05" providerId="ADAL" clId="{C15EC1BA-EE25-4672-92A2-9249CEBF869C}" dt="2024-02-21T07:06:00.394" v="7290" actId="165"/>
          <ac:spMkLst>
            <pc:docMk/>
            <pc:sldMk cId="2302351919" sldId="2146847664"/>
            <ac:spMk id="27" creationId="{B5A30CB6-9080-07E7-DD1D-A9632BCF5C24}"/>
          </ac:spMkLst>
        </pc:spChg>
        <pc:spChg chg="add del mod">
          <ac:chgData name="Siddhartha Paul" userId="0f6d2a28-7c6e-4106-a327-1058fe8b7c05" providerId="ADAL" clId="{C15EC1BA-EE25-4672-92A2-9249CEBF869C}" dt="2024-02-21T05:52:18.885" v="5679" actId="478"/>
          <ac:spMkLst>
            <pc:docMk/>
            <pc:sldMk cId="2302351919" sldId="2146847664"/>
            <ac:spMk id="28" creationId="{72972012-C5B0-1862-1BFB-270C7920DF56}"/>
          </ac:spMkLst>
        </pc:spChg>
        <pc:spChg chg="add del mod">
          <ac:chgData name="Siddhartha Paul" userId="0f6d2a28-7c6e-4106-a327-1058fe8b7c05" providerId="ADAL" clId="{C15EC1BA-EE25-4672-92A2-9249CEBF869C}" dt="2024-02-21T05:52:18.885" v="5679" actId="478"/>
          <ac:spMkLst>
            <pc:docMk/>
            <pc:sldMk cId="2302351919" sldId="2146847664"/>
            <ac:spMk id="29" creationId="{BEA5C843-4E84-8754-B6FB-DE08C6B50A8C}"/>
          </ac:spMkLst>
        </pc:spChg>
        <pc:spChg chg="add del mod">
          <ac:chgData name="Siddhartha Paul" userId="0f6d2a28-7c6e-4106-a327-1058fe8b7c05" providerId="ADAL" clId="{C15EC1BA-EE25-4672-92A2-9249CEBF869C}" dt="2024-02-21T05:53:20.448" v="5689"/>
          <ac:spMkLst>
            <pc:docMk/>
            <pc:sldMk cId="2302351919" sldId="2146847664"/>
            <ac:spMk id="30" creationId="{68EE733A-3264-B7BF-0A10-974103F330EB}"/>
          </ac:spMkLst>
        </pc:spChg>
        <pc:spChg chg="add del mod">
          <ac:chgData name="Siddhartha Paul" userId="0f6d2a28-7c6e-4106-a327-1058fe8b7c05" providerId="ADAL" clId="{C15EC1BA-EE25-4672-92A2-9249CEBF869C}" dt="2024-02-21T05:53:20.448" v="5691"/>
          <ac:spMkLst>
            <pc:docMk/>
            <pc:sldMk cId="2302351919" sldId="2146847664"/>
            <ac:spMk id="31" creationId="{9B72736F-6954-6091-5BC9-9A612D2E488F}"/>
          </ac:spMkLst>
        </pc:spChg>
        <pc:spChg chg="add mod topLvl">
          <ac:chgData name="Siddhartha Paul" userId="0f6d2a28-7c6e-4106-a327-1058fe8b7c05" providerId="ADAL" clId="{C15EC1BA-EE25-4672-92A2-9249CEBF869C}" dt="2024-02-21T07:06:00.394" v="7290" actId="165"/>
          <ac:spMkLst>
            <pc:docMk/>
            <pc:sldMk cId="2302351919" sldId="2146847664"/>
            <ac:spMk id="32" creationId="{F0B5A8F9-4224-3630-FF59-A5E81E356275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33" creationId="{3AC432ED-D7F1-03B7-2CB0-4D003FEA7800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34" creationId="{E640124F-8CB0-5124-1AFB-188F6616D85F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35" creationId="{3E996384-FEE6-2EDF-D937-8036B57F85F5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36" creationId="{C25FF3A6-4CB4-3214-8757-62258F2B9945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37" creationId="{3CB94971-7B72-112B-B1B7-A07CB5A93C0B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38" creationId="{78160B74-E12D-E1AB-7E53-05D9BAF650D8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39" creationId="{DA40B032-5990-225A-F71B-99745A976917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40" creationId="{01D70C89-ADC0-D888-EF21-B881B20BF12D}"/>
          </ac:spMkLst>
        </pc:spChg>
        <pc:spChg chg="add mod topLvl">
          <ac:chgData name="Siddhartha Paul" userId="0f6d2a28-7c6e-4106-a327-1058fe8b7c05" providerId="ADAL" clId="{C15EC1BA-EE25-4672-92A2-9249CEBF869C}" dt="2024-02-21T07:06:00.394" v="7290" actId="165"/>
          <ac:spMkLst>
            <pc:docMk/>
            <pc:sldMk cId="2302351919" sldId="2146847664"/>
            <ac:spMk id="41" creationId="{C4F457F9-41DE-848A-E613-E10F88702579}"/>
          </ac:spMkLst>
        </pc:spChg>
        <pc:spChg chg="add mod topLvl">
          <ac:chgData name="Siddhartha Paul" userId="0f6d2a28-7c6e-4106-a327-1058fe8b7c05" providerId="ADAL" clId="{C15EC1BA-EE25-4672-92A2-9249CEBF869C}" dt="2024-02-21T07:06:00.394" v="7290" actId="165"/>
          <ac:spMkLst>
            <pc:docMk/>
            <pc:sldMk cId="2302351919" sldId="2146847664"/>
            <ac:spMk id="45" creationId="{6C0C54A6-29CB-8A11-DD71-FE39CAF89253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46" creationId="{321C2D68-A5C0-494B-48EB-AE85DAA0AA61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47" creationId="{B4F77563-D45F-2340-7DA1-78BD2C0FBBA8}"/>
          </ac:spMkLst>
        </pc:spChg>
        <pc:spChg chg="add mod topLvl">
          <ac:chgData name="Siddhartha Paul" userId="0f6d2a28-7c6e-4106-a327-1058fe8b7c05" providerId="ADAL" clId="{C15EC1BA-EE25-4672-92A2-9249CEBF869C}" dt="2024-02-21T07:06:00.394" v="7290" actId="165"/>
          <ac:spMkLst>
            <pc:docMk/>
            <pc:sldMk cId="2302351919" sldId="2146847664"/>
            <ac:spMk id="48" creationId="{52271C42-9329-1AA9-BB42-9E63D8FD0C9D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49" creationId="{09D9F8EF-5FE7-BFC4-5F46-CC56444002E9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51" creationId="{71A673B9-125D-9514-19C6-5EFFDC660473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52" creationId="{5F3D51F5-FD70-0036-64ED-B84C679F7CF7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53" creationId="{5EB87542-2454-3181-A510-563A047A6D10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54" creationId="{F73B5736-F8A3-2BD6-FFFE-B78A1BCD8885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55" creationId="{67D3F982-A336-BF79-9230-32427A1442BF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56" creationId="{F3304DCF-F650-A9E5-224C-280D734CD979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58" creationId="{9E5BA093-76EC-F7AC-C2C5-9E595CCF5DBE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59" creationId="{F77D600F-0CF8-9849-CE08-5306D63C579A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60" creationId="{BC00AD75-14F8-B347-B32C-A0477D34DDA7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61" creationId="{33083797-D4DD-0939-49D2-13EB8D8D85BC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63" creationId="{B0D4D4B6-D751-6C64-0F9A-EC007D824FE8}"/>
          </ac:spMkLst>
        </pc:spChg>
        <pc:spChg chg="add mod">
          <ac:chgData name="Siddhartha Paul" userId="0f6d2a28-7c6e-4106-a327-1058fe8b7c05" providerId="ADAL" clId="{C15EC1BA-EE25-4672-92A2-9249CEBF869C}" dt="2024-02-21T06:01:09.447" v="5915" actId="1076"/>
          <ac:spMkLst>
            <pc:docMk/>
            <pc:sldMk cId="2302351919" sldId="2146847664"/>
            <ac:spMk id="64" creationId="{6DED6704-85EE-7AE2-2448-C0E6B038E614}"/>
          </ac:spMkLst>
        </pc:spChg>
        <pc:spChg chg="del">
          <ac:chgData name="Siddhartha Paul" userId="0f6d2a28-7c6e-4106-a327-1058fe8b7c05" providerId="ADAL" clId="{C15EC1BA-EE25-4672-92A2-9249CEBF869C}" dt="2024-02-21T05:39:54.247" v="5450" actId="478"/>
          <ac:spMkLst>
            <pc:docMk/>
            <pc:sldMk cId="2302351919" sldId="2146847664"/>
            <ac:spMk id="66" creationId="{80AEDFBB-EBD6-D38B-2E6F-9393B6634BDD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81" creationId="{1AA0FDCE-DB75-C2D1-5C7B-5BF8553645DD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83" creationId="{255D794E-15CF-8604-1447-E1D831613630}"/>
          </ac:spMkLst>
        </pc:spChg>
        <pc:spChg chg="del">
          <ac:chgData name="Siddhartha Paul" userId="0f6d2a28-7c6e-4106-a327-1058fe8b7c05" providerId="ADAL" clId="{C15EC1BA-EE25-4672-92A2-9249CEBF869C}" dt="2024-02-21T05:36:55.856" v="5387" actId="478"/>
          <ac:spMkLst>
            <pc:docMk/>
            <pc:sldMk cId="2302351919" sldId="2146847664"/>
            <ac:spMk id="84" creationId="{C527E551-54DC-4228-BD00-2842603357FC}"/>
          </ac:spMkLst>
        </pc:spChg>
        <pc:spChg chg="del">
          <ac:chgData name="Siddhartha Paul" userId="0f6d2a28-7c6e-4106-a327-1058fe8b7c05" providerId="ADAL" clId="{C15EC1BA-EE25-4672-92A2-9249CEBF869C}" dt="2024-02-22T04:32:06.364" v="10287" actId="478"/>
          <ac:spMkLst>
            <pc:docMk/>
            <pc:sldMk cId="2302351919" sldId="2146847664"/>
            <ac:spMk id="85" creationId="{1F6B9833-AB55-EB07-110B-883781FC10FD}"/>
          </ac:spMkLst>
        </pc:spChg>
        <pc:spChg chg="del">
          <ac:chgData name="Siddhartha Paul" userId="0f6d2a28-7c6e-4106-a327-1058fe8b7c05" providerId="ADAL" clId="{C15EC1BA-EE25-4672-92A2-9249CEBF869C}" dt="2024-02-21T05:36:58.547" v="5388" actId="478"/>
          <ac:spMkLst>
            <pc:docMk/>
            <pc:sldMk cId="2302351919" sldId="2146847664"/>
            <ac:spMk id="86" creationId="{EFF6D46A-597F-4C00-D464-F8CBC3FA14FB}"/>
          </ac:spMkLst>
        </pc:spChg>
        <pc:grpChg chg="add del mod">
          <ac:chgData name="Siddhartha Paul" userId="0f6d2a28-7c6e-4106-a327-1058fe8b7c05" providerId="ADAL" clId="{C15EC1BA-EE25-4672-92A2-9249CEBF869C}" dt="2024-02-21T07:06:00.394" v="7290" actId="165"/>
          <ac:grpSpMkLst>
            <pc:docMk/>
            <pc:sldMk cId="2302351919" sldId="2146847664"/>
            <ac:grpSpMk id="62" creationId="{479FD648-8BD1-8B52-354C-1B86F16DB116}"/>
          </ac:grpSpMkLst>
        </pc:grpChg>
        <pc:grpChg chg="del">
          <ac:chgData name="Siddhartha Paul" userId="0f6d2a28-7c6e-4106-a327-1058fe8b7c05" providerId="ADAL" clId="{C15EC1BA-EE25-4672-92A2-9249CEBF869C}" dt="2024-02-21T05:36:55.856" v="5387" actId="478"/>
          <ac:grpSpMkLst>
            <pc:docMk/>
            <pc:sldMk cId="2302351919" sldId="2146847664"/>
            <ac:grpSpMk id="71" creationId="{875522B7-D4A1-42B1-E953-9FBEF8AEE6BD}"/>
          </ac:grpSpMkLst>
        </pc:grpChg>
        <pc:grpChg chg="del">
          <ac:chgData name="Siddhartha Paul" userId="0f6d2a28-7c6e-4106-a327-1058fe8b7c05" providerId="ADAL" clId="{C15EC1BA-EE25-4672-92A2-9249CEBF869C}" dt="2024-02-21T05:36:55.856" v="5387" actId="478"/>
          <ac:grpSpMkLst>
            <pc:docMk/>
            <pc:sldMk cId="2302351919" sldId="2146847664"/>
            <ac:grpSpMk id="74" creationId="{C0974990-E327-15BE-4634-0022F7B21754}"/>
          </ac:grpSpMkLst>
        </pc:grpChg>
        <pc:picChg chg="add del mod">
          <ac:chgData name="Siddhartha Paul" userId="0f6d2a28-7c6e-4106-a327-1058fe8b7c05" providerId="ADAL" clId="{C15EC1BA-EE25-4672-92A2-9249CEBF869C}" dt="2024-02-21T05:44:02.856" v="5486" actId="478"/>
          <ac:picMkLst>
            <pc:docMk/>
            <pc:sldMk cId="2302351919" sldId="2146847664"/>
            <ac:picMk id="14" creationId="{8920B236-DC54-516C-4A7F-C66573EEEC76}"/>
          </ac:picMkLst>
        </pc:picChg>
        <pc:picChg chg="add mod">
          <ac:chgData name="Siddhartha Paul" userId="0f6d2a28-7c6e-4106-a327-1058fe8b7c05" providerId="ADAL" clId="{C15EC1BA-EE25-4672-92A2-9249CEBF869C}" dt="2024-02-21T06:01:07.389" v="5914" actId="1076"/>
          <ac:picMkLst>
            <pc:docMk/>
            <pc:sldMk cId="2302351919" sldId="2146847664"/>
            <ac:picMk id="57" creationId="{7DAB7270-F685-3866-00C7-12B062399EAD}"/>
          </ac:picMkLst>
        </pc:picChg>
        <pc:picChg chg="add del mod">
          <ac:chgData name="Siddhartha Paul" userId="0f6d2a28-7c6e-4106-a327-1058fe8b7c05" providerId="ADAL" clId="{C15EC1BA-EE25-4672-92A2-9249CEBF869C}" dt="2024-02-21T05:42:32.422" v="5468" actId="478"/>
          <ac:picMkLst>
            <pc:docMk/>
            <pc:sldMk cId="2302351919" sldId="2146847664"/>
            <ac:picMk id="1028" creationId="{1FC6B1A7-FCFE-1D94-F29C-2E0DD31022B9}"/>
          </ac:picMkLst>
        </pc:picChg>
      </pc:sldChg>
      <pc:sldChg chg="add del">
        <pc:chgData name="Siddhartha Paul" userId="0f6d2a28-7c6e-4106-a327-1058fe8b7c05" providerId="ADAL" clId="{C15EC1BA-EE25-4672-92A2-9249CEBF869C}" dt="2024-02-21T06:49:59.067" v="7023" actId="47"/>
        <pc:sldMkLst>
          <pc:docMk/>
          <pc:sldMk cId="3616861318" sldId="2146847665"/>
        </pc:sldMkLst>
      </pc:sldChg>
      <pc:sldChg chg="del">
        <pc:chgData name="Siddhartha Paul" userId="0f6d2a28-7c6e-4106-a327-1058fe8b7c05" providerId="ADAL" clId="{C15EC1BA-EE25-4672-92A2-9249CEBF869C}" dt="2024-02-21T07:32:10.652" v="8051" actId="47"/>
        <pc:sldMkLst>
          <pc:docMk/>
          <pc:sldMk cId="3856655450" sldId="2146847666"/>
        </pc:sldMkLst>
      </pc:sldChg>
      <pc:sldChg chg="addSp delSp modSp add mod">
        <pc:chgData name="Siddhartha Paul" userId="0f6d2a28-7c6e-4106-a327-1058fe8b7c05" providerId="ADAL" clId="{C15EC1BA-EE25-4672-92A2-9249CEBF869C}" dt="2024-02-22T07:04:37.799" v="12171"/>
        <pc:sldMkLst>
          <pc:docMk/>
          <pc:sldMk cId="3666003372" sldId="2146847667"/>
        </pc:sldMkLst>
        <pc:spChg chg="mod topLvl">
          <ac:chgData name="Siddhartha Paul" userId="0f6d2a28-7c6e-4106-a327-1058fe8b7c05" providerId="ADAL" clId="{C15EC1BA-EE25-4672-92A2-9249CEBF869C}" dt="2024-02-21T07:08:06.817" v="7412" actId="164"/>
          <ac:spMkLst>
            <pc:docMk/>
            <pc:sldMk cId="3666003372" sldId="2146847667"/>
            <ac:spMk id="3" creationId="{3C6A8DA0-7B03-3076-4470-6677CD1FC00A}"/>
          </ac:spMkLst>
        </pc:spChg>
        <pc:spChg chg="mod topLvl">
          <ac:chgData name="Siddhartha Paul" userId="0f6d2a28-7c6e-4106-a327-1058fe8b7c05" providerId="ADAL" clId="{C15EC1BA-EE25-4672-92A2-9249CEBF869C}" dt="2024-02-21T07:09:04.175" v="7441" actId="255"/>
          <ac:spMkLst>
            <pc:docMk/>
            <pc:sldMk cId="3666003372" sldId="2146847667"/>
            <ac:spMk id="4" creationId="{B49178FC-DD46-75EC-2D11-C4B382F54916}"/>
          </ac:spMkLst>
        </pc:spChg>
        <pc:spChg chg="mod topLvl">
          <ac:chgData name="Siddhartha Paul" userId="0f6d2a28-7c6e-4106-a327-1058fe8b7c05" providerId="ADAL" clId="{C15EC1BA-EE25-4672-92A2-9249CEBF869C}" dt="2024-02-21T10:41:16.873" v="9713" actId="20577"/>
          <ac:spMkLst>
            <pc:docMk/>
            <pc:sldMk cId="3666003372" sldId="2146847667"/>
            <ac:spMk id="5" creationId="{EB6620F3-097D-3613-53A4-2ED7A0BE74DE}"/>
          </ac:spMkLst>
        </pc:spChg>
        <pc:spChg chg="add mod">
          <ac:chgData name="Siddhartha Paul" userId="0f6d2a28-7c6e-4106-a327-1058fe8b7c05" providerId="ADAL" clId="{C15EC1BA-EE25-4672-92A2-9249CEBF869C}" dt="2024-02-21T06:28:54.603" v="6810" actId="20577"/>
          <ac:spMkLst>
            <pc:docMk/>
            <pc:sldMk cId="3666003372" sldId="2146847667"/>
            <ac:spMk id="6" creationId="{2F94DE3A-EAC0-507A-DBAB-22F33C98DA10}"/>
          </ac:spMkLst>
        </pc:spChg>
        <pc:spChg chg="add del mod">
          <ac:chgData name="Siddhartha Paul" userId="0f6d2a28-7c6e-4106-a327-1058fe8b7c05" providerId="ADAL" clId="{C15EC1BA-EE25-4672-92A2-9249CEBF869C}" dt="2024-02-21T06:08:38.992" v="6307" actId="478"/>
          <ac:spMkLst>
            <pc:docMk/>
            <pc:sldMk cId="3666003372" sldId="2146847667"/>
            <ac:spMk id="6" creationId="{9161AA41-6C73-6FCD-6AE3-E485C4A0FE2D}"/>
          </ac:spMkLst>
        </pc:spChg>
        <pc:spChg chg="del mod">
          <ac:chgData name="Siddhartha Paul" userId="0f6d2a28-7c6e-4106-a327-1058fe8b7c05" providerId="ADAL" clId="{C15EC1BA-EE25-4672-92A2-9249CEBF869C}" dt="2024-02-21T06:17:49.107" v="6785" actId="478"/>
          <ac:spMkLst>
            <pc:docMk/>
            <pc:sldMk cId="3666003372" sldId="2146847667"/>
            <ac:spMk id="8" creationId="{28218CA9-D0A9-82A5-1AC7-D32A782DCC18}"/>
          </ac:spMkLst>
        </pc:spChg>
        <pc:spChg chg="add mod">
          <ac:chgData name="Siddhartha Paul" userId="0f6d2a28-7c6e-4106-a327-1058fe8b7c05" providerId="ADAL" clId="{C15EC1BA-EE25-4672-92A2-9249CEBF869C}" dt="2024-02-21T06:57:58.907" v="7130" actId="2711"/>
          <ac:spMkLst>
            <pc:docMk/>
            <pc:sldMk cId="3666003372" sldId="2146847667"/>
            <ac:spMk id="8" creationId="{678E9521-1B1E-40FC-8985-106E34889E9A}"/>
          </ac:spMkLst>
        </pc:spChg>
        <pc:spChg chg="mod topLvl">
          <ac:chgData name="Siddhartha Paul" userId="0f6d2a28-7c6e-4106-a327-1058fe8b7c05" providerId="ADAL" clId="{C15EC1BA-EE25-4672-92A2-9249CEBF869C}" dt="2024-02-21T07:08:06.817" v="7412" actId="164"/>
          <ac:spMkLst>
            <pc:docMk/>
            <pc:sldMk cId="3666003372" sldId="2146847667"/>
            <ac:spMk id="9" creationId="{43DDF402-EE1A-546C-89D4-4F3AAB519CCE}"/>
          </ac:spMkLst>
        </pc:spChg>
        <pc:spChg chg="mod topLvl">
          <ac:chgData name="Siddhartha Paul" userId="0f6d2a28-7c6e-4106-a327-1058fe8b7c05" providerId="ADAL" clId="{C15EC1BA-EE25-4672-92A2-9249CEBF869C}" dt="2024-02-21T07:08:03.191" v="7411" actId="164"/>
          <ac:spMkLst>
            <pc:docMk/>
            <pc:sldMk cId="3666003372" sldId="2146847667"/>
            <ac:spMk id="10" creationId="{332A248B-20D3-0314-FB12-E5A7F557598F}"/>
          </ac:spMkLst>
        </pc:spChg>
        <pc:spChg chg="mod topLvl">
          <ac:chgData name="Siddhartha Paul" userId="0f6d2a28-7c6e-4106-a327-1058fe8b7c05" providerId="ADAL" clId="{C15EC1BA-EE25-4672-92A2-9249CEBF869C}" dt="2024-02-21T07:08:00.024" v="7410" actId="164"/>
          <ac:spMkLst>
            <pc:docMk/>
            <pc:sldMk cId="3666003372" sldId="2146847667"/>
            <ac:spMk id="11" creationId="{2DB6E740-6DDA-D5F9-221A-4DAFA7FA8C0B}"/>
          </ac:spMkLst>
        </pc:spChg>
        <pc:spChg chg="add del mod">
          <ac:chgData name="Siddhartha Paul" userId="0f6d2a28-7c6e-4106-a327-1058fe8b7c05" providerId="ADAL" clId="{C15EC1BA-EE25-4672-92A2-9249CEBF869C}" dt="2024-02-21T06:47:43.076" v="6860" actId="478"/>
          <ac:spMkLst>
            <pc:docMk/>
            <pc:sldMk cId="3666003372" sldId="2146847667"/>
            <ac:spMk id="12" creationId="{0685D682-A35B-A3F6-BB97-9A42CBFDF91B}"/>
          </ac:spMkLst>
        </pc:spChg>
        <pc:spChg chg="add del mod">
          <ac:chgData name="Siddhartha Paul" userId="0f6d2a28-7c6e-4106-a327-1058fe8b7c05" providerId="ADAL" clId="{C15EC1BA-EE25-4672-92A2-9249CEBF869C}" dt="2024-02-21T06:08:41.831" v="6308" actId="478"/>
          <ac:spMkLst>
            <pc:docMk/>
            <pc:sldMk cId="3666003372" sldId="2146847667"/>
            <ac:spMk id="12" creationId="{FB163079-9926-7007-56AD-637A821A9B39}"/>
          </ac:spMkLst>
        </pc:spChg>
        <pc:spChg chg="add del mod">
          <ac:chgData name="Siddhartha Paul" userId="0f6d2a28-7c6e-4106-a327-1058fe8b7c05" providerId="ADAL" clId="{C15EC1BA-EE25-4672-92A2-9249CEBF869C}" dt="2024-02-21T06:48:58.180" v="6916" actId="478"/>
          <ac:spMkLst>
            <pc:docMk/>
            <pc:sldMk cId="3666003372" sldId="2146847667"/>
            <ac:spMk id="13" creationId="{4A12E340-B010-36DB-CA6F-258E7AED0ECD}"/>
          </ac:spMkLst>
        </pc:spChg>
        <pc:spChg chg="add mod">
          <ac:chgData name="Siddhartha Paul" userId="0f6d2a28-7c6e-4106-a327-1058fe8b7c05" providerId="ADAL" clId="{C15EC1BA-EE25-4672-92A2-9249CEBF869C}" dt="2024-02-21T06:47:26.967" v="6857" actId="20577"/>
          <ac:spMkLst>
            <pc:docMk/>
            <pc:sldMk cId="3666003372" sldId="2146847667"/>
            <ac:spMk id="14" creationId="{20F0C619-8785-C50A-1738-A6B2F36618E7}"/>
          </ac:spMkLst>
        </pc:spChg>
        <pc:spChg chg="add mod">
          <ac:chgData name="Siddhartha Paul" userId="0f6d2a28-7c6e-4106-a327-1058fe8b7c05" providerId="ADAL" clId="{C15EC1BA-EE25-4672-92A2-9249CEBF869C}" dt="2024-02-21T06:17:55.731" v="6787" actId="207"/>
          <ac:spMkLst>
            <pc:docMk/>
            <pc:sldMk cId="3666003372" sldId="2146847667"/>
            <ac:spMk id="15" creationId="{3324B2D2-E19D-3E11-7E43-998788228B8A}"/>
          </ac:spMkLst>
        </pc:spChg>
        <pc:spChg chg="add mod">
          <ac:chgData name="Siddhartha Paul" userId="0f6d2a28-7c6e-4106-a327-1058fe8b7c05" providerId="ADAL" clId="{C15EC1BA-EE25-4672-92A2-9249CEBF869C}" dt="2024-02-21T06:17:49.424" v="6786"/>
          <ac:spMkLst>
            <pc:docMk/>
            <pc:sldMk cId="3666003372" sldId="2146847667"/>
            <ac:spMk id="16" creationId="{7390529C-AD87-07EC-4CCA-06A7F78B2A9D}"/>
          </ac:spMkLst>
        </pc:spChg>
        <pc:spChg chg="add mod">
          <ac:chgData name="Siddhartha Paul" userId="0f6d2a28-7c6e-4106-a327-1058fe8b7c05" providerId="ADAL" clId="{C15EC1BA-EE25-4672-92A2-9249CEBF869C}" dt="2024-02-21T06:17:58.954" v="6788" actId="207"/>
          <ac:spMkLst>
            <pc:docMk/>
            <pc:sldMk cId="3666003372" sldId="2146847667"/>
            <ac:spMk id="17" creationId="{8852DF76-7039-6A1D-4C0B-2989FE7A2E32}"/>
          </ac:spMkLst>
        </pc:spChg>
        <pc:spChg chg="add mod">
          <ac:chgData name="Siddhartha Paul" userId="0f6d2a28-7c6e-4106-a327-1058fe8b7c05" providerId="ADAL" clId="{C15EC1BA-EE25-4672-92A2-9249CEBF869C}" dt="2024-02-21T06:48:43.821" v="6912" actId="115"/>
          <ac:spMkLst>
            <pc:docMk/>
            <pc:sldMk cId="3666003372" sldId="2146847667"/>
            <ac:spMk id="18" creationId="{FDF7DBEF-1129-6C22-AB52-B23D55DE074D}"/>
          </ac:spMkLst>
        </pc:spChg>
        <pc:spChg chg="del mod">
          <ac:chgData name="Siddhartha Paul" userId="0f6d2a28-7c6e-4106-a327-1058fe8b7c05" providerId="ADAL" clId="{C15EC1BA-EE25-4672-92A2-9249CEBF869C}" dt="2024-02-21T06:17:49.107" v="6785" actId="478"/>
          <ac:spMkLst>
            <pc:docMk/>
            <pc:sldMk cId="3666003372" sldId="2146847667"/>
            <ac:spMk id="20" creationId="{9AEC876F-59F2-BB5F-FD8E-ADE5BC3A814D}"/>
          </ac:spMkLst>
        </pc:spChg>
        <pc:spChg chg="add mod">
          <ac:chgData name="Siddhartha Paul" userId="0f6d2a28-7c6e-4106-a327-1058fe8b7c05" providerId="ADAL" clId="{C15EC1BA-EE25-4672-92A2-9249CEBF869C}" dt="2024-02-21T10:40:42.814" v="9660" actId="14100"/>
          <ac:spMkLst>
            <pc:docMk/>
            <pc:sldMk cId="3666003372" sldId="2146847667"/>
            <ac:spMk id="20" creationId="{E81236C2-3351-A598-6859-A5F7BF764889}"/>
          </ac:spMkLst>
        </pc:spChg>
        <pc:spChg chg="add mod">
          <ac:chgData name="Siddhartha Paul" userId="0f6d2a28-7c6e-4106-a327-1058fe8b7c05" providerId="ADAL" clId="{C15EC1BA-EE25-4672-92A2-9249CEBF869C}" dt="2024-02-21T07:12:27.776" v="7541" actId="20577"/>
          <ac:spMkLst>
            <pc:docMk/>
            <pc:sldMk cId="3666003372" sldId="2146847667"/>
            <ac:spMk id="21" creationId="{D098D4F2-10F7-A27A-388D-51E4FF95F232}"/>
          </ac:spMkLst>
        </pc:spChg>
        <pc:spChg chg="add mod">
          <ac:chgData name="Siddhartha Paul" userId="0f6d2a28-7c6e-4106-a327-1058fe8b7c05" providerId="ADAL" clId="{C15EC1BA-EE25-4672-92A2-9249CEBF869C}" dt="2024-02-21T07:07:56.725" v="7409" actId="164"/>
          <ac:spMkLst>
            <pc:docMk/>
            <pc:sldMk cId="3666003372" sldId="2146847667"/>
            <ac:spMk id="22" creationId="{8E561D7D-1008-A291-C008-258DC57E8115}"/>
          </ac:spMkLst>
        </pc:spChg>
        <pc:spChg chg="del">
          <ac:chgData name="Siddhartha Paul" userId="0f6d2a28-7c6e-4106-a327-1058fe8b7c05" providerId="ADAL" clId="{C15EC1BA-EE25-4672-92A2-9249CEBF869C}" dt="2024-02-21T06:17:49.107" v="6785" actId="478"/>
          <ac:spMkLst>
            <pc:docMk/>
            <pc:sldMk cId="3666003372" sldId="2146847667"/>
            <ac:spMk id="23" creationId="{51373F44-CDF5-FD5F-B761-53DB1E320FF4}"/>
          </ac:spMkLst>
        </pc:spChg>
        <pc:spChg chg="add mod">
          <ac:chgData name="Siddhartha Paul" userId="0f6d2a28-7c6e-4106-a327-1058fe8b7c05" providerId="ADAL" clId="{C15EC1BA-EE25-4672-92A2-9249CEBF869C}" dt="2024-02-21T07:12:08.502" v="7523" actId="1036"/>
          <ac:spMkLst>
            <pc:docMk/>
            <pc:sldMk cId="3666003372" sldId="2146847667"/>
            <ac:spMk id="27" creationId="{E5D90DCA-4556-CAAD-7202-555C8C21B8B2}"/>
          </ac:spMkLst>
        </pc:spChg>
        <pc:spChg chg="add del mod">
          <ac:chgData name="Siddhartha Paul" userId="0f6d2a28-7c6e-4106-a327-1058fe8b7c05" providerId="ADAL" clId="{C15EC1BA-EE25-4672-92A2-9249CEBF869C}" dt="2024-02-22T06:56:09.183" v="11882" actId="478"/>
          <ac:spMkLst>
            <pc:docMk/>
            <pc:sldMk cId="3666003372" sldId="2146847667"/>
            <ac:spMk id="28" creationId="{81CF4C8D-B699-FEE9-1A51-019ABAB89C82}"/>
          </ac:spMkLst>
        </pc:spChg>
        <pc:spChg chg="add del mod">
          <ac:chgData name="Siddhartha Paul" userId="0f6d2a28-7c6e-4106-a327-1058fe8b7c05" providerId="ADAL" clId="{C15EC1BA-EE25-4672-92A2-9249CEBF869C}" dt="2024-02-22T06:21:45.735" v="11524" actId="478"/>
          <ac:spMkLst>
            <pc:docMk/>
            <pc:sldMk cId="3666003372" sldId="2146847667"/>
            <ac:spMk id="29" creationId="{22DC6A8B-65AB-F7D0-6796-8C8297F66B97}"/>
          </ac:spMkLst>
        </pc:spChg>
        <pc:spChg chg="add mod">
          <ac:chgData name="Siddhartha Paul" userId="0f6d2a28-7c6e-4106-a327-1058fe8b7c05" providerId="ADAL" clId="{C15EC1BA-EE25-4672-92A2-9249CEBF869C}" dt="2024-02-22T05:40:22.815" v="10941"/>
          <ac:spMkLst>
            <pc:docMk/>
            <pc:sldMk cId="3666003372" sldId="2146847667"/>
            <ac:spMk id="30" creationId="{BA527AD8-6B5B-F743-3201-5320158814B2}"/>
          </ac:spMkLst>
        </pc:spChg>
        <pc:spChg chg="add mod">
          <ac:chgData name="Siddhartha Paul" userId="0f6d2a28-7c6e-4106-a327-1058fe8b7c05" providerId="ADAL" clId="{C15EC1BA-EE25-4672-92A2-9249CEBF869C}" dt="2024-02-22T05:40:22.815" v="10941"/>
          <ac:spMkLst>
            <pc:docMk/>
            <pc:sldMk cId="3666003372" sldId="2146847667"/>
            <ac:spMk id="31" creationId="{EC4177BE-5F61-AB89-4E97-CC7279BE842E}"/>
          </ac:spMkLst>
        </pc:spChg>
        <pc:spChg chg="add mod">
          <ac:chgData name="Siddhartha Paul" userId="0f6d2a28-7c6e-4106-a327-1058fe8b7c05" providerId="ADAL" clId="{C15EC1BA-EE25-4672-92A2-9249CEBF869C}" dt="2024-02-22T05:40:22.815" v="10941"/>
          <ac:spMkLst>
            <pc:docMk/>
            <pc:sldMk cId="3666003372" sldId="2146847667"/>
            <ac:spMk id="32" creationId="{DA066CC1-EFBA-06AC-7CD5-CF29055FDB4F}"/>
          </ac:spMkLst>
        </pc:spChg>
        <pc:spChg chg="add mod">
          <ac:chgData name="Siddhartha Paul" userId="0f6d2a28-7c6e-4106-a327-1058fe8b7c05" providerId="ADAL" clId="{C15EC1BA-EE25-4672-92A2-9249CEBF869C}" dt="2024-02-22T05:40:22.815" v="10941"/>
          <ac:spMkLst>
            <pc:docMk/>
            <pc:sldMk cId="3666003372" sldId="2146847667"/>
            <ac:spMk id="33" creationId="{87AB35F6-7EDD-61AE-475F-716C66D7B341}"/>
          </ac:spMkLst>
        </pc:spChg>
        <pc:spChg chg="add mod">
          <ac:chgData name="Siddhartha Paul" userId="0f6d2a28-7c6e-4106-a327-1058fe8b7c05" providerId="ADAL" clId="{C15EC1BA-EE25-4672-92A2-9249CEBF869C}" dt="2024-02-22T07:04:37.799" v="12171"/>
          <ac:spMkLst>
            <pc:docMk/>
            <pc:sldMk cId="3666003372" sldId="2146847667"/>
            <ac:spMk id="34" creationId="{60FF31F0-5AD0-BB32-E0FD-CDF54DBDF47D}"/>
          </ac:spMkLst>
        </pc:spChg>
        <pc:spChg chg="add mod">
          <ac:chgData name="Siddhartha Paul" userId="0f6d2a28-7c6e-4106-a327-1058fe8b7c05" providerId="ADAL" clId="{C15EC1BA-EE25-4672-92A2-9249CEBF869C}" dt="2024-02-22T06:56:09.546" v="11883"/>
          <ac:spMkLst>
            <pc:docMk/>
            <pc:sldMk cId="3666003372" sldId="2146847667"/>
            <ac:spMk id="35" creationId="{17D4209B-CCAB-5D48-70BE-5CCBDD492395}"/>
          </ac:spMkLst>
        </pc:spChg>
        <pc:spChg chg="del">
          <ac:chgData name="Siddhartha Paul" userId="0f6d2a28-7c6e-4106-a327-1058fe8b7c05" providerId="ADAL" clId="{C15EC1BA-EE25-4672-92A2-9249CEBF869C}" dt="2024-02-21T06:01:00.834" v="5913" actId="478"/>
          <ac:spMkLst>
            <pc:docMk/>
            <pc:sldMk cId="3666003372" sldId="2146847667"/>
            <ac:spMk id="64" creationId="{6DED6704-85EE-7AE2-2448-C0E6B038E614}"/>
          </ac:spMkLst>
        </pc:spChg>
        <pc:spChg chg="del">
          <ac:chgData name="Siddhartha Paul" userId="0f6d2a28-7c6e-4106-a327-1058fe8b7c05" providerId="ADAL" clId="{C15EC1BA-EE25-4672-92A2-9249CEBF869C}" dt="2024-02-22T04:32:22.803" v="10289" actId="478"/>
          <ac:spMkLst>
            <pc:docMk/>
            <pc:sldMk cId="3666003372" sldId="2146847667"/>
            <ac:spMk id="85" creationId="{1F6B9833-AB55-EB07-110B-883781FC10FD}"/>
          </ac:spMkLst>
        </pc:spChg>
        <pc:grpChg chg="add del mod">
          <ac:chgData name="Siddhartha Paul" userId="0f6d2a28-7c6e-4106-a327-1058fe8b7c05" providerId="ADAL" clId="{C15EC1BA-EE25-4672-92A2-9249CEBF869C}" dt="2024-02-21T06:18:59.554" v="6791" actId="165"/>
          <ac:grpSpMkLst>
            <pc:docMk/>
            <pc:sldMk cId="3666003372" sldId="2146847667"/>
            <ac:grpSpMk id="2" creationId="{6809BB0A-E147-6D76-DC97-4F81BBDE6024}"/>
          </ac:grpSpMkLst>
        </pc:grpChg>
        <pc:grpChg chg="add mod">
          <ac:chgData name="Siddhartha Paul" userId="0f6d2a28-7c6e-4106-a327-1058fe8b7c05" providerId="ADAL" clId="{C15EC1BA-EE25-4672-92A2-9249CEBF869C}" dt="2024-02-21T07:07:56.725" v="7409" actId="164"/>
          <ac:grpSpMkLst>
            <pc:docMk/>
            <pc:sldMk cId="3666003372" sldId="2146847667"/>
            <ac:grpSpMk id="23" creationId="{87115CBF-BA5F-25B1-05E4-D03C64154E89}"/>
          </ac:grpSpMkLst>
        </pc:grpChg>
        <pc:grpChg chg="add mod">
          <ac:chgData name="Siddhartha Paul" userId="0f6d2a28-7c6e-4106-a327-1058fe8b7c05" providerId="ADAL" clId="{C15EC1BA-EE25-4672-92A2-9249CEBF869C}" dt="2024-02-21T07:08:14.474" v="7413" actId="465"/>
          <ac:grpSpMkLst>
            <pc:docMk/>
            <pc:sldMk cId="3666003372" sldId="2146847667"/>
            <ac:grpSpMk id="24" creationId="{9C279C2D-3B2D-6356-06CE-78B1BB9E7664}"/>
          </ac:grpSpMkLst>
        </pc:grpChg>
        <pc:grpChg chg="add mod">
          <ac:chgData name="Siddhartha Paul" userId="0f6d2a28-7c6e-4106-a327-1058fe8b7c05" providerId="ADAL" clId="{C15EC1BA-EE25-4672-92A2-9249CEBF869C}" dt="2024-02-21T07:08:14.474" v="7413" actId="465"/>
          <ac:grpSpMkLst>
            <pc:docMk/>
            <pc:sldMk cId="3666003372" sldId="2146847667"/>
            <ac:grpSpMk id="25" creationId="{F63D4153-E14C-10FA-D33C-DA33075056BB}"/>
          </ac:grpSpMkLst>
        </pc:grpChg>
        <pc:grpChg chg="add mod">
          <ac:chgData name="Siddhartha Paul" userId="0f6d2a28-7c6e-4106-a327-1058fe8b7c05" providerId="ADAL" clId="{C15EC1BA-EE25-4672-92A2-9249CEBF869C}" dt="2024-02-21T07:08:06.817" v="7412" actId="164"/>
          <ac:grpSpMkLst>
            <pc:docMk/>
            <pc:sldMk cId="3666003372" sldId="2146847667"/>
            <ac:grpSpMk id="26" creationId="{E6FC4232-D1D6-25E3-D056-D650E3A99B6C}"/>
          </ac:grpSpMkLst>
        </pc:grpChg>
        <pc:grpChg chg="del">
          <ac:chgData name="Siddhartha Paul" userId="0f6d2a28-7c6e-4106-a327-1058fe8b7c05" providerId="ADAL" clId="{C15EC1BA-EE25-4672-92A2-9249CEBF869C}" dt="2024-02-21T06:01:00.834" v="5913" actId="478"/>
          <ac:grpSpMkLst>
            <pc:docMk/>
            <pc:sldMk cId="3666003372" sldId="2146847667"/>
            <ac:grpSpMk id="62" creationId="{479FD648-8BD1-8B52-354C-1B86F16DB116}"/>
          </ac:grpSpMkLst>
        </pc:grpChg>
        <pc:graphicFrameChg chg="add mod">
          <ac:chgData name="Siddhartha Paul" userId="0f6d2a28-7c6e-4106-a327-1058fe8b7c05" providerId="ADAL" clId="{C15EC1BA-EE25-4672-92A2-9249CEBF869C}" dt="2024-02-21T06:05:27.410" v="6157"/>
          <ac:graphicFrameMkLst>
            <pc:docMk/>
            <pc:sldMk cId="3666003372" sldId="2146847667"/>
            <ac:graphicFrameMk id="13" creationId="{3AF30A96-383A-0811-3C6D-0C5D3AA7DDE3}"/>
          </ac:graphicFrameMkLst>
        </pc:graphicFrameChg>
        <pc:graphicFrameChg chg="add mod">
          <ac:chgData name="Siddhartha Paul" userId="0f6d2a28-7c6e-4106-a327-1058fe8b7c05" providerId="ADAL" clId="{C15EC1BA-EE25-4672-92A2-9249CEBF869C}" dt="2024-02-21T06:05:31.683" v="6158"/>
          <ac:graphicFrameMkLst>
            <pc:docMk/>
            <pc:sldMk cId="3666003372" sldId="2146847667"/>
            <ac:graphicFrameMk id="14" creationId="{1AEDF29C-C70D-3F7A-B945-BDA8055C8112}"/>
          </ac:graphicFrameMkLst>
        </pc:graphicFrameChg>
        <pc:picChg chg="add mod">
          <ac:chgData name="Siddhartha Paul" userId="0f6d2a28-7c6e-4106-a327-1058fe8b7c05" providerId="ADAL" clId="{C15EC1BA-EE25-4672-92A2-9249CEBF869C}" dt="2024-02-21T06:30:46.301" v="6851" actId="1076"/>
          <ac:picMkLst>
            <pc:docMk/>
            <pc:sldMk cId="3666003372" sldId="2146847667"/>
            <ac:picMk id="2" creationId="{DD52294C-1368-75DD-B79B-BB47E00BF09F}"/>
          </ac:picMkLst>
        </pc:picChg>
        <pc:picChg chg="add mod">
          <ac:chgData name="Siddhartha Paul" userId="0f6d2a28-7c6e-4106-a327-1058fe8b7c05" providerId="ADAL" clId="{C15EC1BA-EE25-4672-92A2-9249CEBF869C}" dt="2024-02-21T06:28:44.449" v="6806" actId="1076"/>
          <ac:picMkLst>
            <pc:docMk/>
            <pc:sldMk cId="3666003372" sldId="2146847667"/>
            <ac:picMk id="19" creationId="{3A4C2405-7FDA-36BB-5F2C-EB9C7664F226}"/>
          </ac:picMkLst>
        </pc:picChg>
        <pc:picChg chg="del">
          <ac:chgData name="Siddhartha Paul" userId="0f6d2a28-7c6e-4106-a327-1058fe8b7c05" providerId="ADAL" clId="{C15EC1BA-EE25-4672-92A2-9249CEBF869C}" dt="2024-02-21T06:01:00.834" v="5913" actId="478"/>
          <ac:picMkLst>
            <pc:docMk/>
            <pc:sldMk cId="3666003372" sldId="2146847667"/>
            <ac:picMk id="57" creationId="{7DAB7270-F685-3866-00C7-12B062399EAD}"/>
          </ac:picMkLst>
        </pc:picChg>
      </pc:sldChg>
      <pc:sldChg chg="addSp delSp modSp add mod">
        <pc:chgData name="Siddhartha Paul" userId="0f6d2a28-7c6e-4106-a327-1058fe8b7c05" providerId="ADAL" clId="{C15EC1BA-EE25-4672-92A2-9249CEBF869C}" dt="2024-02-22T11:59:48.674" v="12755" actId="14100"/>
        <pc:sldMkLst>
          <pc:docMk/>
          <pc:sldMk cId="4030650752" sldId="2146847668"/>
        </pc:sldMkLst>
        <pc:spChg chg="add mod">
          <ac:chgData name="Siddhartha Paul" userId="0f6d2a28-7c6e-4106-a327-1058fe8b7c05" providerId="ADAL" clId="{C15EC1BA-EE25-4672-92A2-9249CEBF869C}" dt="2024-02-21T07:05:23.308" v="7284" actId="20577"/>
          <ac:spMkLst>
            <pc:docMk/>
            <pc:sldMk cId="4030650752" sldId="2146847668"/>
            <ac:spMk id="2" creationId="{7220A6B1-FF5E-63D0-FA9C-03F5413641D9}"/>
          </ac:spMkLst>
        </pc:spChg>
        <pc:spChg chg="mod topLvl">
          <ac:chgData name="Siddhartha Paul" userId="0f6d2a28-7c6e-4106-a327-1058fe8b7c05" providerId="ADAL" clId="{C15EC1BA-EE25-4672-92A2-9249CEBF869C}" dt="2024-02-21T06:16:05.878" v="6761" actId="255"/>
          <ac:spMkLst>
            <pc:docMk/>
            <pc:sldMk cId="4030650752" sldId="2146847668"/>
            <ac:spMk id="3" creationId="{CA6CA466-1B32-86D5-7B49-A592468FEFE6}"/>
          </ac:spMkLst>
        </pc:spChg>
        <pc:spChg chg="mod topLvl">
          <ac:chgData name="Siddhartha Paul" userId="0f6d2a28-7c6e-4106-a327-1058fe8b7c05" providerId="ADAL" clId="{C15EC1BA-EE25-4672-92A2-9249CEBF869C}" dt="2024-02-21T06:11:44.272" v="6539" actId="1076"/>
          <ac:spMkLst>
            <pc:docMk/>
            <pc:sldMk cId="4030650752" sldId="2146847668"/>
            <ac:spMk id="4" creationId="{AEE5593F-5A7E-6C79-EA2A-631D1DE089D4}"/>
          </ac:spMkLst>
        </pc:spChg>
        <pc:spChg chg="add del mod topLvl">
          <ac:chgData name="Siddhartha Paul" userId="0f6d2a28-7c6e-4106-a327-1058fe8b7c05" providerId="ADAL" clId="{C15EC1BA-EE25-4672-92A2-9249CEBF869C}" dt="2024-02-22T11:59:48.674" v="12755" actId="14100"/>
          <ac:spMkLst>
            <pc:docMk/>
            <pc:sldMk cId="4030650752" sldId="2146847668"/>
            <ac:spMk id="5" creationId="{ED60DB59-0303-E880-DC11-EFEA94027E6E}"/>
          </ac:spMkLst>
        </pc:spChg>
        <pc:spChg chg="add del mod">
          <ac:chgData name="Siddhartha Paul" userId="0f6d2a28-7c6e-4106-a327-1058fe8b7c05" providerId="ADAL" clId="{C15EC1BA-EE25-4672-92A2-9249CEBF869C}" dt="2024-02-21T06:10:49.552" v="6516" actId="478"/>
          <ac:spMkLst>
            <pc:docMk/>
            <pc:sldMk cId="4030650752" sldId="2146847668"/>
            <ac:spMk id="6" creationId="{5BE0D0F7-5A84-74F3-3EF8-59A4B7DF8AA9}"/>
          </ac:spMkLst>
        </pc:spChg>
        <pc:spChg chg="add del mod">
          <ac:chgData name="Siddhartha Paul" userId="0f6d2a28-7c6e-4106-a327-1058fe8b7c05" providerId="ADAL" clId="{C15EC1BA-EE25-4672-92A2-9249CEBF869C}" dt="2024-02-22T06:56:05.168" v="11880" actId="478"/>
          <ac:spMkLst>
            <pc:docMk/>
            <pc:sldMk cId="4030650752" sldId="2146847668"/>
            <ac:spMk id="6" creationId="{94595638-2271-F27B-23EC-A6A44F4A0E6D}"/>
          </ac:spMkLst>
        </pc:spChg>
        <pc:spChg chg="mod">
          <ac:chgData name="Siddhartha Paul" userId="0f6d2a28-7c6e-4106-a327-1058fe8b7c05" providerId="ADAL" clId="{C15EC1BA-EE25-4672-92A2-9249CEBF869C}" dt="2024-02-21T06:26:50.580" v="6792" actId="207"/>
          <ac:spMkLst>
            <pc:docMk/>
            <pc:sldMk cId="4030650752" sldId="2146847668"/>
            <ac:spMk id="8" creationId="{28218CA9-D0A9-82A5-1AC7-D32A782DCC18}"/>
          </ac:spMkLst>
        </pc:spChg>
        <pc:spChg chg="mod topLvl">
          <ac:chgData name="Siddhartha Paul" userId="0f6d2a28-7c6e-4106-a327-1058fe8b7c05" providerId="ADAL" clId="{C15EC1BA-EE25-4672-92A2-9249CEBF869C}" dt="2024-02-21T06:11:37.490" v="6538" actId="1035"/>
          <ac:spMkLst>
            <pc:docMk/>
            <pc:sldMk cId="4030650752" sldId="2146847668"/>
            <ac:spMk id="9" creationId="{CE00EB9A-86E8-C30F-5A3B-7316B9B608C2}"/>
          </ac:spMkLst>
        </pc:spChg>
        <pc:spChg chg="mod topLvl">
          <ac:chgData name="Siddhartha Paul" userId="0f6d2a28-7c6e-4106-a327-1058fe8b7c05" providerId="ADAL" clId="{C15EC1BA-EE25-4672-92A2-9249CEBF869C}" dt="2024-02-21T06:11:44.272" v="6539" actId="1076"/>
          <ac:spMkLst>
            <pc:docMk/>
            <pc:sldMk cId="4030650752" sldId="2146847668"/>
            <ac:spMk id="10" creationId="{D3D2B76C-FC8E-3B24-75D0-DC69526315CB}"/>
          </ac:spMkLst>
        </pc:spChg>
        <pc:spChg chg="add del mod topLvl">
          <ac:chgData name="Siddhartha Paul" userId="0f6d2a28-7c6e-4106-a327-1058fe8b7c05" providerId="ADAL" clId="{C15EC1BA-EE25-4672-92A2-9249CEBF869C}" dt="2024-02-21T06:11:26.450" v="6520" actId="1076"/>
          <ac:spMkLst>
            <pc:docMk/>
            <pc:sldMk cId="4030650752" sldId="2146847668"/>
            <ac:spMk id="11" creationId="{497FE841-40F3-16F3-3D65-62BB40E96D8B}"/>
          </ac:spMkLst>
        </pc:spChg>
        <pc:spChg chg="add del mod">
          <ac:chgData name="Siddhartha Paul" userId="0f6d2a28-7c6e-4106-a327-1058fe8b7c05" providerId="ADAL" clId="{C15EC1BA-EE25-4672-92A2-9249CEBF869C}" dt="2024-02-21T06:10:49.552" v="6516" actId="478"/>
          <ac:spMkLst>
            <pc:docMk/>
            <pc:sldMk cId="4030650752" sldId="2146847668"/>
            <ac:spMk id="12" creationId="{9B8F4AA9-3B07-F5C5-76F4-FFE9A89945B1}"/>
          </ac:spMkLst>
        </pc:spChg>
        <pc:spChg chg="add del mod">
          <ac:chgData name="Siddhartha Paul" userId="0f6d2a28-7c6e-4106-a327-1058fe8b7c05" providerId="ADAL" clId="{C15EC1BA-EE25-4672-92A2-9249CEBF869C}" dt="2024-02-22T06:21:41.835" v="11522" actId="478"/>
          <ac:spMkLst>
            <pc:docMk/>
            <pc:sldMk cId="4030650752" sldId="2146847668"/>
            <ac:spMk id="12" creationId="{C3A64A98-61BA-3A64-8275-E0D3077D6B62}"/>
          </ac:spMkLst>
        </pc:spChg>
        <pc:spChg chg="add mod">
          <ac:chgData name="Siddhartha Paul" userId="0f6d2a28-7c6e-4106-a327-1058fe8b7c05" providerId="ADAL" clId="{C15EC1BA-EE25-4672-92A2-9249CEBF869C}" dt="2024-02-21T06:13:40.022" v="6601" actId="1076"/>
          <ac:spMkLst>
            <pc:docMk/>
            <pc:sldMk cId="4030650752" sldId="2146847668"/>
            <ac:spMk id="14" creationId="{50BE7BFF-A7A8-32C3-419A-D819E735F82B}"/>
          </ac:spMkLst>
        </pc:spChg>
        <pc:spChg chg="add mod">
          <ac:chgData name="Siddhartha Paul" userId="0f6d2a28-7c6e-4106-a327-1058fe8b7c05" providerId="ADAL" clId="{C15EC1BA-EE25-4672-92A2-9249CEBF869C}" dt="2024-02-21T06:14:53.041" v="6637" actId="207"/>
          <ac:spMkLst>
            <pc:docMk/>
            <pc:sldMk cId="4030650752" sldId="2146847668"/>
            <ac:spMk id="15" creationId="{A63A9126-8BC7-1171-AD00-9775B9C04836}"/>
          </ac:spMkLst>
        </pc:spChg>
        <pc:spChg chg="add mod">
          <ac:chgData name="Siddhartha Paul" userId="0f6d2a28-7c6e-4106-a327-1058fe8b7c05" providerId="ADAL" clId="{C15EC1BA-EE25-4672-92A2-9249CEBF869C}" dt="2024-02-21T06:57:47.675" v="7129" actId="20577"/>
          <ac:spMkLst>
            <pc:docMk/>
            <pc:sldMk cId="4030650752" sldId="2146847668"/>
            <ac:spMk id="17" creationId="{406BDD87-AE12-EA28-8153-E5CFCD93BD69}"/>
          </ac:spMkLst>
        </pc:spChg>
        <pc:spChg chg="add mod">
          <ac:chgData name="Siddhartha Paul" userId="0f6d2a28-7c6e-4106-a327-1058fe8b7c05" providerId="ADAL" clId="{C15EC1BA-EE25-4672-92A2-9249CEBF869C}" dt="2024-02-21T06:16:25.520" v="6763" actId="14100"/>
          <ac:spMkLst>
            <pc:docMk/>
            <pc:sldMk cId="4030650752" sldId="2146847668"/>
            <ac:spMk id="18" creationId="{63460D55-D544-E2DA-A039-6A139E1ACE4E}"/>
          </ac:spMkLst>
        </pc:spChg>
        <pc:spChg chg="add mod">
          <ac:chgData name="Siddhartha Paul" userId="0f6d2a28-7c6e-4106-a327-1058fe8b7c05" providerId="ADAL" clId="{C15EC1BA-EE25-4672-92A2-9249CEBF869C}" dt="2024-02-21T06:15:37.868" v="6758" actId="20577"/>
          <ac:spMkLst>
            <pc:docMk/>
            <pc:sldMk cId="4030650752" sldId="2146847668"/>
            <ac:spMk id="19" creationId="{B63AD0B1-1628-D8F2-9995-C58544852652}"/>
          </ac:spMkLst>
        </pc:spChg>
        <pc:spChg chg="mod">
          <ac:chgData name="Siddhartha Paul" userId="0f6d2a28-7c6e-4106-a327-1058fe8b7c05" providerId="ADAL" clId="{C15EC1BA-EE25-4672-92A2-9249CEBF869C}" dt="2024-02-21T06:26:56.547" v="6793" actId="207"/>
          <ac:spMkLst>
            <pc:docMk/>
            <pc:sldMk cId="4030650752" sldId="2146847668"/>
            <ac:spMk id="20" creationId="{9AEC876F-59F2-BB5F-FD8E-ADE5BC3A814D}"/>
          </ac:spMkLst>
        </pc:spChg>
        <pc:spChg chg="add mod">
          <ac:chgData name="Siddhartha Paul" userId="0f6d2a28-7c6e-4106-a327-1058fe8b7c05" providerId="ADAL" clId="{C15EC1BA-EE25-4672-92A2-9249CEBF869C}" dt="2024-02-22T05:40:12.185" v="10940"/>
          <ac:spMkLst>
            <pc:docMk/>
            <pc:sldMk cId="4030650752" sldId="2146847668"/>
            <ac:spMk id="21" creationId="{789CA2B8-0B53-725E-2561-773246CD8117}"/>
          </ac:spMkLst>
        </pc:spChg>
        <pc:spChg chg="add mod">
          <ac:chgData name="Siddhartha Paul" userId="0f6d2a28-7c6e-4106-a327-1058fe8b7c05" providerId="ADAL" clId="{C15EC1BA-EE25-4672-92A2-9249CEBF869C}" dt="2024-02-22T05:40:12.185" v="10940"/>
          <ac:spMkLst>
            <pc:docMk/>
            <pc:sldMk cId="4030650752" sldId="2146847668"/>
            <ac:spMk id="22" creationId="{997D03A1-4FE7-CCEA-73DD-1B36F16C2023}"/>
          </ac:spMkLst>
        </pc:spChg>
        <pc:spChg chg="del mod">
          <ac:chgData name="Siddhartha Paul" userId="0f6d2a28-7c6e-4106-a327-1058fe8b7c05" providerId="ADAL" clId="{C15EC1BA-EE25-4672-92A2-9249CEBF869C}" dt="2024-02-21T06:14:35.155" v="6633"/>
          <ac:spMkLst>
            <pc:docMk/>
            <pc:sldMk cId="4030650752" sldId="2146847668"/>
            <ac:spMk id="24" creationId="{4F65DACB-E256-F69E-C4DE-CC5BDBCD9D22}"/>
          </ac:spMkLst>
        </pc:spChg>
        <pc:spChg chg="add mod">
          <ac:chgData name="Siddhartha Paul" userId="0f6d2a28-7c6e-4106-a327-1058fe8b7c05" providerId="ADAL" clId="{C15EC1BA-EE25-4672-92A2-9249CEBF869C}" dt="2024-02-22T05:40:12.185" v="10940"/>
          <ac:spMkLst>
            <pc:docMk/>
            <pc:sldMk cId="4030650752" sldId="2146847668"/>
            <ac:spMk id="24" creationId="{68BA852D-6F7A-E3AD-90F2-180E0817BF3A}"/>
          </ac:spMkLst>
        </pc:spChg>
        <pc:spChg chg="add mod">
          <ac:chgData name="Siddhartha Paul" userId="0f6d2a28-7c6e-4106-a327-1058fe8b7c05" providerId="ADAL" clId="{C15EC1BA-EE25-4672-92A2-9249CEBF869C}" dt="2024-02-22T05:40:12.185" v="10940"/>
          <ac:spMkLst>
            <pc:docMk/>
            <pc:sldMk cId="4030650752" sldId="2146847668"/>
            <ac:spMk id="25" creationId="{C23AA632-B039-AD35-6679-4109E86208A5}"/>
          </ac:spMkLst>
        </pc:spChg>
        <pc:spChg chg="add mod">
          <ac:chgData name="Siddhartha Paul" userId="0f6d2a28-7c6e-4106-a327-1058fe8b7c05" providerId="ADAL" clId="{C15EC1BA-EE25-4672-92A2-9249CEBF869C}" dt="2024-02-22T07:04:34.629" v="12170"/>
          <ac:spMkLst>
            <pc:docMk/>
            <pc:sldMk cId="4030650752" sldId="2146847668"/>
            <ac:spMk id="26" creationId="{B369D27F-BDFA-649F-4EFB-5D0EE4D97DD0}"/>
          </ac:spMkLst>
        </pc:spChg>
        <pc:spChg chg="add mod">
          <ac:chgData name="Siddhartha Paul" userId="0f6d2a28-7c6e-4106-a327-1058fe8b7c05" providerId="ADAL" clId="{C15EC1BA-EE25-4672-92A2-9249CEBF869C}" dt="2024-02-22T06:56:05.564" v="11881"/>
          <ac:spMkLst>
            <pc:docMk/>
            <pc:sldMk cId="4030650752" sldId="2146847668"/>
            <ac:spMk id="27" creationId="{1196ADF8-06BE-BDCC-8104-9F34B608D8A1}"/>
          </ac:spMkLst>
        </pc:spChg>
        <pc:spChg chg="del">
          <ac:chgData name="Siddhartha Paul" userId="0f6d2a28-7c6e-4106-a327-1058fe8b7c05" providerId="ADAL" clId="{C15EC1BA-EE25-4672-92A2-9249CEBF869C}" dt="2024-02-21T06:09:05.458" v="6346" actId="478"/>
          <ac:spMkLst>
            <pc:docMk/>
            <pc:sldMk cId="4030650752" sldId="2146847668"/>
            <ac:spMk id="64" creationId="{6DED6704-85EE-7AE2-2448-C0E6B038E614}"/>
          </ac:spMkLst>
        </pc:spChg>
        <pc:spChg chg="del">
          <ac:chgData name="Siddhartha Paul" userId="0f6d2a28-7c6e-4106-a327-1058fe8b7c05" providerId="ADAL" clId="{C15EC1BA-EE25-4672-92A2-9249CEBF869C}" dt="2024-02-22T04:32:09.323" v="10288" actId="478"/>
          <ac:spMkLst>
            <pc:docMk/>
            <pc:sldMk cId="4030650752" sldId="2146847668"/>
            <ac:spMk id="85" creationId="{1F6B9833-AB55-EB07-110B-883781FC10FD}"/>
          </ac:spMkLst>
        </pc:spChg>
        <pc:grpChg chg="add del mod">
          <ac:chgData name="Siddhartha Paul" userId="0f6d2a28-7c6e-4106-a327-1058fe8b7c05" providerId="ADAL" clId="{C15EC1BA-EE25-4672-92A2-9249CEBF869C}" dt="2024-02-21T06:11:15.169" v="6519" actId="165"/>
          <ac:grpSpMkLst>
            <pc:docMk/>
            <pc:sldMk cId="4030650752" sldId="2146847668"/>
            <ac:grpSpMk id="2" creationId="{8BA389DB-D450-54AE-09AE-0DBEBB559840}"/>
          </ac:grpSpMkLst>
        </pc:grpChg>
        <pc:grpChg chg="del">
          <ac:chgData name="Siddhartha Paul" userId="0f6d2a28-7c6e-4106-a327-1058fe8b7c05" providerId="ADAL" clId="{C15EC1BA-EE25-4672-92A2-9249CEBF869C}" dt="2024-02-21T06:09:05.458" v="6346" actId="478"/>
          <ac:grpSpMkLst>
            <pc:docMk/>
            <pc:sldMk cId="4030650752" sldId="2146847668"/>
            <ac:grpSpMk id="62" creationId="{479FD648-8BD1-8B52-354C-1B86F16DB116}"/>
          </ac:grpSpMkLst>
        </pc:grpChg>
        <pc:picChg chg="add mod">
          <ac:chgData name="Siddhartha Paul" userId="0f6d2a28-7c6e-4106-a327-1058fe8b7c05" providerId="ADAL" clId="{C15EC1BA-EE25-4672-92A2-9249CEBF869C}" dt="2024-02-21T06:13:40.022" v="6601" actId="1076"/>
          <ac:picMkLst>
            <pc:docMk/>
            <pc:sldMk cId="4030650752" sldId="2146847668"/>
            <ac:picMk id="13" creationId="{1F6DCE42-D229-477A-ECCF-900FFAFA0149}"/>
          </ac:picMkLst>
        </pc:picChg>
        <pc:picChg chg="add mod">
          <ac:chgData name="Siddhartha Paul" userId="0f6d2a28-7c6e-4106-a327-1058fe8b7c05" providerId="ADAL" clId="{C15EC1BA-EE25-4672-92A2-9249CEBF869C}" dt="2024-02-21T06:13:57.193" v="6605" actId="1076"/>
          <ac:picMkLst>
            <pc:docMk/>
            <pc:sldMk cId="4030650752" sldId="2146847668"/>
            <ac:picMk id="16" creationId="{30FE4F2F-4879-B1BF-B770-EED4A2E91BF4}"/>
          </ac:picMkLst>
        </pc:picChg>
        <pc:picChg chg="del">
          <ac:chgData name="Siddhartha Paul" userId="0f6d2a28-7c6e-4106-a327-1058fe8b7c05" providerId="ADAL" clId="{C15EC1BA-EE25-4672-92A2-9249CEBF869C}" dt="2024-02-21T06:09:05.458" v="6346" actId="478"/>
          <ac:picMkLst>
            <pc:docMk/>
            <pc:sldMk cId="4030650752" sldId="2146847668"/>
            <ac:picMk id="57" creationId="{7DAB7270-F685-3866-00C7-12B062399EAD}"/>
          </ac:picMkLst>
        </pc:picChg>
        <pc:picChg chg="del">
          <ac:chgData name="Siddhartha Paul" userId="0f6d2a28-7c6e-4106-a327-1058fe8b7c05" providerId="ADAL" clId="{C15EC1BA-EE25-4672-92A2-9249CEBF869C}" dt="2024-02-21T06:13:48.065" v="6604" actId="478"/>
          <ac:picMkLst>
            <pc:docMk/>
            <pc:sldMk cId="4030650752" sldId="2146847668"/>
            <ac:picMk id="6146" creationId="{4DC180B8-6629-5197-4F32-170C5CC0725B}"/>
          </ac:picMkLst>
        </pc:picChg>
      </pc:sldChg>
      <pc:sldChg chg="addSp delSp modSp add del mod ord">
        <pc:chgData name="Siddhartha Paul" userId="0f6d2a28-7c6e-4106-a327-1058fe8b7c05" providerId="ADAL" clId="{C15EC1BA-EE25-4672-92A2-9249CEBF869C}" dt="2024-02-22T05:21:31.930" v="10687" actId="47"/>
        <pc:sldMkLst>
          <pc:docMk/>
          <pc:sldMk cId="422212580" sldId="2146847669"/>
        </pc:sldMkLst>
        <pc:spChg chg="add mod ord">
          <ac:chgData name="Siddhartha Paul" userId="0f6d2a28-7c6e-4106-a327-1058fe8b7c05" providerId="ADAL" clId="{C15EC1BA-EE25-4672-92A2-9249CEBF869C}" dt="2024-02-21T06:54:47.080" v="7097" actId="113"/>
          <ac:spMkLst>
            <pc:docMk/>
            <pc:sldMk cId="422212580" sldId="2146847669"/>
            <ac:spMk id="2" creationId="{581DD6AF-5F65-ECB2-4BAC-B496114084CC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3" creationId="{2ECCAC30-E874-5C66-B1E6-8B2BC29D215E}"/>
          </ac:spMkLst>
        </pc:spChg>
        <pc:spChg chg="add mod">
          <ac:chgData name="Siddhartha Paul" userId="0f6d2a28-7c6e-4106-a327-1058fe8b7c05" providerId="ADAL" clId="{C15EC1BA-EE25-4672-92A2-9249CEBF869C}" dt="2024-02-21T06:55:05.685" v="7112" actId="1076"/>
          <ac:spMkLst>
            <pc:docMk/>
            <pc:sldMk cId="422212580" sldId="2146847669"/>
            <ac:spMk id="4" creationId="{0DB12180-17D1-234C-9F9B-8E6E4AE0F101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5" creationId="{1A2EAD9A-4F67-ACB1-C50A-E04C1AB46AC0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6" creationId="{32793778-01D4-FA7E-3432-B1395BADE7A2}"/>
          </ac:spMkLst>
        </pc:spChg>
        <pc:spChg chg="mod">
          <ac:chgData name="Siddhartha Paul" userId="0f6d2a28-7c6e-4106-a327-1058fe8b7c05" providerId="ADAL" clId="{C15EC1BA-EE25-4672-92A2-9249CEBF869C}" dt="2024-02-21T06:53:13.590" v="7057" actId="1076"/>
          <ac:spMkLst>
            <pc:docMk/>
            <pc:sldMk cId="422212580" sldId="2146847669"/>
            <ac:spMk id="7" creationId="{238D0DE0-522F-29B0-8202-964439F707B1}"/>
          </ac:spMkLst>
        </pc:spChg>
        <pc:spChg chg="add mod">
          <ac:chgData name="Siddhartha Paul" userId="0f6d2a28-7c6e-4106-a327-1058fe8b7c05" providerId="ADAL" clId="{C15EC1BA-EE25-4672-92A2-9249CEBF869C}" dt="2024-02-21T06:53:23.761" v="7058" actId="1076"/>
          <ac:spMkLst>
            <pc:docMk/>
            <pc:sldMk cId="422212580" sldId="2146847669"/>
            <ac:spMk id="8" creationId="{17AFC293-2B06-5576-5216-403AB08358F5}"/>
          </ac:spMkLst>
        </pc:spChg>
        <pc:spChg chg="add mod">
          <ac:chgData name="Siddhartha Paul" userId="0f6d2a28-7c6e-4106-a327-1058fe8b7c05" providerId="ADAL" clId="{C15EC1BA-EE25-4672-92A2-9249CEBF869C}" dt="2024-02-21T06:54:47.080" v="7097" actId="113"/>
          <ac:spMkLst>
            <pc:docMk/>
            <pc:sldMk cId="422212580" sldId="2146847669"/>
            <ac:spMk id="9" creationId="{3AA9CBF0-8276-1C64-57C0-F0A9CB0367F7}"/>
          </ac:spMkLst>
        </pc:spChg>
        <pc:spChg chg="mod">
          <ac:chgData name="Siddhartha Paul" userId="0f6d2a28-7c6e-4106-a327-1058fe8b7c05" providerId="ADAL" clId="{C15EC1BA-EE25-4672-92A2-9249CEBF869C}" dt="2024-02-21T07:40:09.706" v="8190" actId="1076"/>
          <ac:spMkLst>
            <pc:docMk/>
            <pc:sldMk cId="422212580" sldId="2146847669"/>
            <ac:spMk id="10" creationId="{73052DA7-2040-4AB0-08BD-F90FA74CF30D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10" creationId="{C1E2BB4D-C493-D822-009E-E7E8419BEEF1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11" creationId="{8BA1C8B0-9997-BC77-F209-C44C343967A2}"/>
          </ac:spMkLst>
        </pc:spChg>
        <pc:spChg chg="add mod">
          <ac:chgData name="Siddhartha Paul" userId="0f6d2a28-7c6e-4106-a327-1058fe8b7c05" providerId="ADAL" clId="{C15EC1BA-EE25-4672-92A2-9249CEBF869C}" dt="2024-02-21T06:53:23.761" v="7058" actId="1076"/>
          <ac:spMkLst>
            <pc:docMk/>
            <pc:sldMk cId="422212580" sldId="2146847669"/>
            <ac:spMk id="13" creationId="{9D5BA9D5-B1CF-6FCE-7778-265454F25635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14" creationId="{9AAE7358-0A0E-1449-46F9-81EB31C9E6EC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15" creationId="{BA889A06-E95E-B542-F9FE-CE8AE027621F}"/>
          </ac:spMkLst>
        </pc:spChg>
        <pc:spChg chg="add mod">
          <ac:chgData name="Siddhartha Paul" userId="0f6d2a28-7c6e-4106-a327-1058fe8b7c05" providerId="ADAL" clId="{C15EC1BA-EE25-4672-92A2-9249CEBF869C}" dt="2024-02-21T06:54:47.080" v="7097" actId="113"/>
          <ac:spMkLst>
            <pc:docMk/>
            <pc:sldMk cId="422212580" sldId="2146847669"/>
            <ac:spMk id="16" creationId="{24C22705-3A8A-52EB-EDDF-615F55131E3A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17" creationId="{D49FC03D-B33B-D766-E09F-6F51ACA27A13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18" creationId="{AD2A13CE-23CD-DA35-29E5-3BA7815BCA0F}"/>
          </ac:spMkLst>
        </pc:spChg>
        <pc:spChg chg="add mod">
          <ac:chgData name="Siddhartha Paul" userId="0f6d2a28-7c6e-4106-a327-1058fe8b7c05" providerId="ADAL" clId="{C15EC1BA-EE25-4672-92A2-9249CEBF869C}" dt="2024-02-21T06:53:34.148" v="7059" actId="1076"/>
          <ac:spMkLst>
            <pc:docMk/>
            <pc:sldMk cId="422212580" sldId="2146847669"/>
            <ac:spMk id="19" creationId="{AAE44F1A-6318-81DD-2C18-3E98B7AF7707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20" creationId="{77DFF4C2-86E3-A7E3-FADA-B913B478CB7A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21" creationId="{1401F0E3-973A-CDFD-28DA-EB600A82073E}"/>
          </ac:spMkLst>
        </pc:spChg>
        <pc:spChg chg="add mod">
          <ac:chgData name="Siddhartha Paul" userId="0f6d2a28-7c6e-4106-a327-1058fe8b7c05" providerId="ADAL" clId="{C15EC1BA-EE25-4672-92A2-9249CEBF869C}" dt="2024-02-21T06:54:47.080" v="7097" actId="113"/>
          <ac:spMkLst>
            <pc:docMk/>
            <pc:sldMk cId="422212580" sldId="2146847669"/>
            <ac:spMk id="22" creationId="{969A3DE1-2CA5-734E-BD09-48D2599319CE}"/>
          </ac:spMkLst>
        </pc:spChg>
        <pc:spChg chg="add mod">
          <ac:chgData name="Siddhartha Paul" userId="0f6d2a28-7c6e-4106-a327-1058fe8b7c05" providerId="ADAL" clId="{C15EC1BA-EE25-4672-92A2-9249CEBF869C}" dt="2024-02-21T06:53:34.148" v="7059" actId="1076"/>
          <ac:spMkLst>
            <pc:docMk/>
            <pc:sldMk cId="422212580" sldId="2146847669"/>
            <ac:spMk id="25" creationId="{DA56C989-7B15-5E24-13BE-99BD474A50AB}"/>
          </ac:spMkLst>
        </pc:spChg>
        <pc:spChg chg="add mod">
          <ac:chgData name="Siddhartha Paul" userId="0f6d2a28-7c6e-4106-a327-1058fe8b7c05" providerId="ADAL" clId="{C15EC1BA-EE25-4672-92A2-9249CEBF869C}" dt="2024-02-21T06:54:47.080" v="7097" actId="113"/>
          <ac:spMkLst>
            <pc:docMk/>
            <pc:sldMk cId="422212580" sldId="2146847669"/>
            <ac:spMk id="26" creationId="{A81551B5-2BE8-8D5C-DD06-48874A8DEFAF}"/>
          </ac:spMkLst>
        </pc:spChg>
        <pc:spChg chg="add mod">
          <ac:chgData name="Siddhartha Paul" userId="0f6d2a28-7c6e-4106-a327-1058fe8b7c05" providerId="ADAL" clId="{C15EC1BA-EE25-4672-92A2-9249CEBF869C}" dt="2024-02-21T06:53:34.148" v="7059" actId="1076"/>
          <ac:spMkLst>
            <pc:docMk/>
            <pc:sldMk cId="422212580" sldId="2146847669"/>
            <ac:spMk id="27" creationId="{3C609DA6-5EC6-3E4E-B25E-E15C4B472BD9}"/>
          </ac:spMkLst>
        </pc:spChg>
        <pc:spChg chg="add mod">
          <ac:chgData name="Siddhartha Paul" userId="0f6d2a28-7c6e-4106-a327-1058fe8b7c05" providerId="ADAL" clId="{C15EC1BA-EE25-4672-92A2-9249CEBF869C}" dt="2024-02-21T06:54:47.080" v="7097" actId="113"/>
          <ac:spMkLst>
            <pc:docMk/>
            <pc:sldMk cId="422212580" sldId="2146847669"/>
            <ac:spMk id="29" creationId="{3EBFDDDD-FC89-405F-49B3-6EDC911551A5}"/>
          </ac:spMkLst>
        </pc:spChg>
        <pc:spChg chg="add mod">
          <ac:chgData name="Siddhartha Paul" userId="0f6d2a28-7c6e-4106-a327-1058fe8b7c05" providerId="ADAL" clId="{C15EC1BA-EE25-4672-92A2-9249CEBF869C}" dt="2024-02-21T06:54:26.057" v="7083" actId="1037"/>
          <ac:spMkLst>
            <pc:docMk/>
            <pc:sldMk cId="422212580" sldId="2146847669"/>
            <ac:spMk id="31" creationId="{DE77A907-817B-414D-A334-F176B7DAF878}"/>
          </ac:spMkLst>
        </pc:spChg>
        <pc:spChg chg="add mod">
          <ac:chgData name="Siddhartha Paul" userId="0f6d2a28-7c6e-4106-a327-1058fe8b7c05" providerId="ADAL" clId="{C15EC1BA-EE25-4672-92A2-9249CEBF869C}" dt="2024-02-21T06:54:26.057" v="7083" actId="1037"/>
          <ac:spMkLst>
            <pc:docMk/>
            <pc:sldMk cId="422212580" sldId="2146847669"/>
            <ac:spMk id="33" creationId="{C85CE040-116F-9B6A-A1D5-2B2E0CB6A5CA}"/>
          </ac:spMkLst>
        </pc:spChg>
        <pc:spChg chg="add mod">
          <ac:chgData name="Siddhartha Paul" userId="0f6d2a28-7c6e-4106-a327-1058fe8b7c05" providerId="ADAL" clId="{C15EC1BA-EE25-4672-92A2-9249CEBF869C}" dt="2024-02-21T06:54:26.057" v="7083" actId="1037"/>
          <ac:spMkLst>
            <pc:docMk/>
            <pc:sldMk cId="422212580" sldId="2146847669"/>
            <ac:spMk id="35" creationId="{95770F91-4C4F-2B4A-B139-7C14A9C5A6E3}"/>
          </ac:spMkLst>
        </pc:spChg>
        <pc:spChg chg="add mod">
          <ac:chgData name="Siddhartha Paul" userId="0f6d2a28-7c6e-4106-a327-1058fe8b7c05" providerId="ADAL" clId="{C15EC1BA-EE25-4672-92A2-9249CEBF869C}" dt="2024-02-21T06:54:26.057" v="7083" actId="1037"/>
          <ac:spMkLst>
            <pc:docMk/>
            <pc:sldMk cId="422212580" sldId="2146847669"/>
            <ac:spMk id="36" creationId="{6DB2354A-2306-7AF6-4668-DA0FF4B81F40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37" creationId="{D502755E-A422-D46F-875E-1380438D42ED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38" creationId="{EE4490DC-6215-FFA0-5FCD-ED8B65EEA061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39" creationId="{5EAAFF63-76BB-77C1-AD25-B017AFB9C66C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40" creationId="{0C5E35E4-D5AB-EBDF-2592-FC2797B7F033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41" creationId="{0481EFFD-D1D2-143F-196D-EE3C10973B63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42" creationId="{AAAD5BCB-3AE2-2E01-6FDB-CC96BD119124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43" creationId="{252B6A0A-CB92-A9CF-F52D-7EBA4D3B0DE5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44" creationId="{8677EF50-DEDD-E887-6CE1-39C040F5D727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45" creationId="{180BCFC7-3155-D3EF-46B3-3B30466F7E16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46" creationId="{094B864E-8CE0-21D2-4B87-D878A3E3CDF1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47" creationId="{4BDC7CEB-29A2-2105-0B53-4B75D713AE6F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48" creationId="{555B9486-D182-05EE-AB38-12355D4D8B27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49" creationId="{A944723B-8311-15D4-0A59-0EA9D9540C36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50" creationId="{FAFC66DE-CFF6-531D-D4D0-53C990D04DA3}"/>
          </ac:spMkLst>
        </pc:spChg>
        <pc:spChg chg="del">
          <ac:chgData name="Siddhartha Paul" userId="0f6d2a28-7c6e-4106-a327-1058fe8b7c05" providerId="ADAL" clId="{C15EC1BA-EE25-4672-92A2-9249CEBF869C}" dt="2024-02-21T06:51:24.452" v="7029" actId="478"/>
          <ac:spMkLst>
            <pc:docMk/>
            <pc:sldMk cId="422212580" sldId="2146847669"/>
            <ac:spMk id="51" creationId="{183D92FF-56E8-2574-C979-0BBD29067556}"/>
          </ac:spMkLst>
        </pc:spChg>
        <pc:spChg chg="add mod">
          <ac:chgData name="Siddhartha Paul" userId="0f6d2a28-7c6e-4106-a327-1058fe8b7c05" providerId="ADAL" clId="{C15EC1BA-EE25-4672-92A2-9249CEBF869C}" dt="2024-02-21T07:34:42.817" v="8077" actId="1076"/>
          <ac:spMkLst>
            <pc:docMk/>
            <pc:sldMk cId="422212580" sldId="2146847669"/>
            <ac:spMk id="52" creationId="{E158F8F4-0771-73B9-4F70-596F3B435D6E}"/>
          </ac:spMkLst>
        </pc:spChg>
        <pc:spChg chg="add mod">
          <ac:chgData name="Siddhartha Paul" userId="0f6d2a28-7c6e-4106-a327-1058fe8b7c05" providerId="ADAL" clId="{C15EC1BA-EE25-4672-92A2-9249CEBF869C}" dt="2024-02-21T07:38:10.553" v="8146" actId="1076"/>
          <ac:spMkLst>
            <pc:docMk/>
            <pc:sldMk cId="422212580" sldId="2146847669"/>
            <ac:spMk id="53" creationId="{7264E83B-0A2D-83A5-E61B-250E410A8AB6}"/>
          </ac:spMkLst>
        </pc:spChg>
        <pc:spChg chg="add mod">
          <ac:chgData name="Siddhartha Paul" userId="0f6d2a28-7c6e-4106-a327-1058fe8b7c05" providerId="ADAL" clId="{C15EC1BA-EE25-4672-92A2-9249CEBF869C}" dt="2024-02-21T06:55:14.773" v="7115" actId="1076"/>
          <ac:spMkLst>
            <pc:docMk/>
            <pc:sldMk cId="422212580" sldId="2146847669"/>
            <ac:spMk id="54" creationId="{6F30A1CC-1580-549F-6A03-5D6A49678970}"/>
          </ac:spMkLst>
        </pc:spChg>
        <pc:spChg chg="add mod">
          <ac:chgData name="Siddhartha Paul" userId="0f6d2a28-7c6e-4106-a327-1058fe8b7c05" providerId="ADAL" clId="{C15EC1BA-EE25-4672-92A2-9249CEBF869C}" dt="2024-02-22T04:33:03.440" v="10293" actId="1076"/>
          <ac:spMkLst>
            <pc:docMk/>
            <pc:sldMk cId="422212580" sldId="2146847669"/>
            <ac:spMk id="55" creationId="{730FCFB9-8534-0A7E-EF45-E0D15F9C248E}"/>
          </ac:spMkLst>
        </pc:spChg>
        <pc:spChg chg="add mod">
          <ac:chgData name="Siddhartha Paul" userId="0f6d2a28-7c6e-4106-a327-1058fe8b7c05" providerId="ADAL" clId="{C15EC1BA-EE25-4672-92A2-9249CEBF869C}" dt="2024-02-21T07:48:14.076" v="8518" actId="20577"/>
          <ac:spMkLst>
            <pc:docMk/>
            <pc:sldMk cId="422212580" sldId="2146847669"/>
            <ac:spMk id="56" creationId="{642283EC-53B9-A9D1-4346-553C652EC170}"/>
          </ac:spMkLst>
        </pc:spChg>
        <pc:spChg chg="add mod">
          <ac:chgData name="Siddhartha Paul" userId="0f6d2a28-7c6e-4106-a327-1058fe8b7c05" providerId="ADAL" clId="{C15EC1BA-EE25-4672-92A2-9249CEBF869C}" dt="2024-02-21T07:40:32.072" v="8212" actId="20577"/>
          <ac:spMkLst>
            <pc:docMk/>
            <pc:sldMk cId="422212580" sldId="2146847669"/>
            <ac:spMk id="57" creationId="{AB46BE05-8EC7-9658-F685-D309848154CF}"/>
          </ac:spMkLst>
        </pc:spChg>
        <pc:cxnChg chg="del mod">
          <ac:chgData name="Siddhartha Paul" userId="0f6d2a28-7c6e-4106-a327-1058fe8b7c05" providerId="ADAL" clId="{C15EC1BA-EE25-4672-92A2-9249CEBF869C}" dt="2024-02-21T06:51:24.452" v="7029" actId="478"/>
          <ac:cxnSpMkLst>
            <pc:docMk/>
            <pc:sldMk cId="422212580" sldId="2146847669"/>
            <ac:cxnSpMk id="23" creationId="{EE022894-9482-102F-9783-E2102863656A}"/>
          </ac:cxnSpMkLst>
        </pc:cxnChg>
        <pc:cxnChg chg="del mod">
          <ac:chgData name="Siddhartha Paul" userId="0f6d2a28-7c6e-4106-a327-1058fe8b7c05" providerId="ADAL" clId="{C15EC1BA-EE25-4672-92A2-9249CEBF869C}" dt="2024-02-21T06:51:24.452" v="7029" actId="478"/>
          <ac:cxnSpMkLst>
            <pc:docMk/>
            <pc:sldMk cId="422212580" sldId="2146847669"/>
            <ac:cxnSpMk id="28" creationId="{76511960-5A9C-FA4E-B761-18C2FA9970FD}"/>
          </ac:cxnSpMkLst>
        </pc:cxnChg>
        <pc:cxnChg chg="del mod">
          <ac:chgData name="Siddhartha Paul" userId="0f6d2a28-7c6e-4106-a327-1058fe8b7c05" providerId="ADAL" clId="{C15EC1BA-EE25-4672-92A2-9249CEBF869C}" dt="2024-02-21T06:51:24.452" v="7029" actId="478"/>
          <ac:cxnSpMkLst>
            <pc:docMk/>
            <pc:sldMk cId="422212580" sldId="2146847669"/>
            <ac:cxnSpMk id="30" creationId="{3F67A32A-F0E6-BEDB-EA82-E1DA1F5DF578}"/>
          </ac:cxnSpMkLst>
        </pc:cxnChg>
        <pc:cxnChg chg="del mod">
          <ac:chgData name="Siddhartha Paul" userId="0f6d2a28-7c6e-4106-a327-1058fe8b7c05" providerId="ADAL" clId="{C15EC1BA-EE25-4672-92A2-9249CEBF869C}" dt="2024-02-21T06:51:24.452" v="7029" actId="478"/>
          <ac:cxnSpMkLst>
            <pc:docMk/>
            <pc:sldMk cId="422212580" sldId="2146847669"/>
            <ac:cxnSpMk id="32" creationId="{B44E4C13-F049-44BB-06CC-3C6E21F45A40}"/>
          </ac:cxnSpMkLst>
        </pc:cxnChg>
        <pc:cxnChg chg="del mod">
          <ac:chgData name="Siddhartha Paul" userId="0f6d2a28-7c6e-4106-a327-1058fe8b7c05" providerId="ADAL" clId="{C15EC1BA-EE25-4672-92A2-9249CEBF869C}" dt="2024-02-21T06:51:24.452" v="7029" actId="478"/>
          <ac:cxnSpMkLst>
            <pc:docMk/>
            <pc:sldMk cId="422212580" sldId="2146847669"/>
            <ac:cxnSpMk id="34" creationId="{1F767223-FAB2-1367-CE52-B1DC34294839}"/>
          </ac:cxnSpMkLst>
        </pc:cxnChg>
      </pc:sldChg>
      <pc:sldChg chg="addSp delSp modSp add mod ord">
        <pc:chgData name="Siddhartha Paul" userId="0f6d2a28-7c6e-4106-a327-1058fe8b7c05" providerId="ADAL" clId="{C15EC1BA-EE25-4672-92A2-9249CEBF869C}" dt="2024-02-22T06:52:04.291" v="11851"/>
        <pc:sldMkLst>
          <pc:docMk/>
          <pc:sldMk cId="2374332569" sldId="2146847670"/>
        </pc:sldMkLst>
        <pc:spChg chg="add mod">
          <ac:chgData name="Siddhartha Paul" userId="0f6d2a28-7c6e-4106-a327-1058fe8b7c05" providerId="ADAL" clId="{C15EC1BA-EE25-4672-92A2-9249CEBF869C}" dt="2024-02-21T07:44:46.156" v="8391" actId="1076"/>
          <ac:spMkLst>
            <pc:docMk/>
            <pc:sldMk cId="2374332569" sldId="2146847670"/>
            <ac:spMk id="2" creationId="{1C9B89CA-B47B-D625-9FFC-230FF630237A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3" creationId="{2ECCAC30-E874-5C66-B1E6-8B2BC29D215E}"/>
          </ac:spMkLst>
        </pc:spChg>
        <pc:spChg chg="add mod">
          <ac:chgData name="Siddhartha Paul" userId="0f6d2a28-7c6e-4106-a327-1058fe8b7c05" providerId="ADAL" clId="{C15EC1BA-EE25-4672-92A2-9249CEBF869C}" dt="2024-02-21T07:44:06.962" v="8384" actId="1076"/>
          <ac:spMkLst>
            <pc:docMk/>
            <pc:sldMk cId="2374332569" sldId="2146847670"/>
            <ac:spMk id="4" creationId="{8D591670-E1FE-8F54-13FB-DE00652BFA70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5" creationId="{1A2EAD9A-4F67-ACB1-C50A-E04C1AB46AC0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6" creationId="{32793778-01D4-FA7E-3432-B1395BADE7A2}"/>
          </ac:spMkLst>
        </pc:spChg>
        <pc:spChg chg="mod">
          <ac:chgData name="Siddhartha Paul" userId="0f6d2a28-7c6e-4106-a327-1058fe8b7c05" providerId="ADAL" clId="{C15EC1BA-EE25-4672-92A2-9249CEBF869C}" dt="2024-02-21T06:58:27.256" v="7141" actId="20577"/>
          <ac:spMkLst>
            <pc:docMk/>
            <pc:sldMk cId="2374332569" sldId="2146847670"/>
            <ac:spMk id="7" creationId="{238D0DE0-522F-29B0-8202-964439F707B1}"/>
          </ac:spMkLst>
        </pc:spChg>
        <pc:spChg chg="add mod">
          <ac:chgData name="Siddhartha Paul" userId="0f6d2a28-7c6e-4106-a327-1058fe8b7c05" providerId="ADAL" clId="{C15EC1BA-EE25-4672-92A2-9249CEBF869C}" dt="2024-02-21T07:44:49.575" v="8392" actId="1076"/>
          <ac:spMkLst>
            <pc:docMk/>
            <pc:sldMk cId="2374332569" sldId="2146847670"/>
            <ac:spMk id="8" creationId="{961107B2-CF2E-C1A1-2096-342221CA9015}"/>
          </ac:spMkLst>
        </pc:spChg>
        <pc:spChg chg="add del mod">
          <ac:chgData name="Siddhartha Paul" userId="0f6d2a28-7c6e-4106-a327-1058fe8b7c05" providerId="ADAL" clId="{C15EC1BA-EE25-4672-92A2-9249CEBF869C}" dt="2024-02-21T06:59:06.846" v="7153" actId="478"/>
          <ac:spMkLst>
            <pc:docMk/>
            <pc:sldMk cId="2374332569" sldId="2146847670"/>
            <ac:spMk id="9" creationId="{6AC27F03-D299-436C-65AB-8DE857703349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10" creationId="{C1E2BB4D-C493-D822-009E-E7E8419BEEF1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11" creationId="{8BA1C8B0-9997-BC77-F209-C44C343967A2}"/>
          </ac:spMkLst>
        </pc:spChg>
        <pc:spChg chg="del">
          <ac:chgData name="Siddhartha Paul" userId="0f6d2a28-7c6e-4106-a327-1058fe8b7c05" providerId="ADAL" clId="{C15EC1BA-EE25-4672-92A2-9249CEBF869C}" dt="2024-02-22T04:50:04.053" v="10318" actId="478"/>
          <ac:spMkLst>
            <pc:docMk/>
            <pc:sldMk cId="2374332569" sldId="2146847670"/>
            <ac:spMk id="12" creationId="{81AF1D09-5C53-5618-D3EE-4BA63337A2D7}"/>
          </ac:spMkLst>
        </pc:spChg>
        <pc:spChg chg="add del mod">
          <ac:chgData name="Siddhartha Paul" userId="0f6d2a28-7c6e-4106-a327-1058fe8b7c05" providerId="ADAL" clId="{C15EC1BA-EE25-4672-92A2-9249CEBF869C}" dt="2024-02-21T07:43:59.669" v="8383" actId="478"/>
          <ac:spMkLst>
            <pc:docMk/>
            <pc:sldMk cId="2374332569" sldId="2146847670"/>
            <ac:spMk id="13" creationId="{A93E6376-50D8-2E4E-6F87-655861799C9A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14" creationId="{9AAE7358-0A0E-1449-46F9-81EB31C9E6EC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15" creationId="{BA889A06-E95E-B542-F9FE-CE8AE027621F}"/>
          </ac:spMkLst>
        </pc:spChg>
        <pc:spChg chg="add del mod">
          <ac:chgData name="Siddhartha Paul" userId="0f6d2a28-7c6e-4106-a327-1058fe8b7c05" providerId="ADAL" clId="{C15EC1BA-EE25-4672-92A2-9249CEBF869C}" dt="2024-02-21T07:43:59.669" v="8383" actId="478"/>
          <ac:spMkLst>
            <pc:docMk/>
            <pc:sldMk cId="2374332569" sldId="2146847670"/>
            <ac:spMk id="16" creationId="{ED20172E-C2EE-665C-99D1-D8342D825207}"/>
          </ac:spMkLst>
        </pc:spChg>
        <pc:spChg chg="del">
          <ac:chgData name="Siddhartha Paul" userId="0f6d2a28-7c6e-4106-a327-1058fe8b7c05" providerId="ADAL" clId="{C15EC1BA-EE25-4672-92A2-9249CEBF869C}" dt="2024-02-21T06:55:56.096" v="7126" actId="478"/>
          <ac:spMkLst>
            <pc:docMk/>
            <pc:sldMk cId="2374332569" sldId="2146847670"/>
            <ac:spMk id="17" creationId="{D49FC03D-B33B-D766-E09F-6F51ACA27A13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18" creationId="{AD2A13CE-23CD-DA35-29E5-3BA7815BCA0F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20" creationId="{77DFF4C2-86E3-A7E3-FADA-B913B478CB7A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21" creationId="{1401F0E3-973A-CDFD-28DA-EB600A82073E}"/>
          </ac:spMkLst>
        </pc:spChg>
        <pc:spChg chg="del">
          <ac:chgData name="Siddhartha Paul" userId="0f6d2a28-7c6e-4106-a327-1058fe8b7c05" providerId="ADAL" clId="{C15EC1BA-EE25-4672-92A2-9249CEBF869C}" dt="2024-02-22T04:50:07.119" v="10319" actId="478"/>
          <ac:spMkLst>
            <pc:docMk/>
            <pc:sldMk cId="2374332569" sldId="2146847670"/>
            <ac:spMk id="24" creationId="{E2F99286-F64D-E5B0-A5EE-8CB16F216C58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37" creationId="{D502755E-A422-D46F-875E-1380438D42ED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38" creationId="{EE4490DC-6215-FFA0-5FCD-ED8B65EEA061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39" creationId="{5EAAFF63-76BB-77C1-AD25-B017AFB9C66C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40" creationId="{0C5E35E4-D5AB-EBDF-2592-FC2797B7F033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41" creationId="{0481EFFD-D1D2-143F-196D-EE3C10973B63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42" creationId="{AAAD5BCB-3AE2-2E01-6FDB-CC96BD119124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43" creationId="{252B6A0A-CB92-A9CF-F52D-7EBA4D3B0DE5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44" creationId="{8677EF50-DEDD-E887-6CE1-39C040F5D727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45" creationId="{180BCFC7-3155-D3EF-46B3-3B30466F7E16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46" creationId="{094B864E-8CE0-21D2-4B87-D878A3E3CDF1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47" creationId="{4BDC7CEB-29A2-2105-0B53-4B75D713AE6F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48" creationId="{555B9486-D182-05EE-AB38-12355D4D8B27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49" creationId="{A944723B-8311-15D4-0A59-0EA9D9540C36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50" creationId="{FAFC66DE-CFF6-531D-D4D0-53C990D04DA3}"/>
          </ac:spMkLst>
        </pc:spChg>
        <pc:spChg chg="del">
          <ac:chgData name="Siddhartha Paul" userId="0f6d2a28-7c6e-4106-a327-1058fe8b7c05" providerId="ADAL" clId="{C15EC1BA-EE25-4672-92A2-9249CEBF869C}" dt="2024-02-21T06:55:53.935" v="7125" actId="478"/>
          <ac:spMkLst>
            <pc:docMk/>
            <pc:sldMk cId="2374332569" sldId="2146847670"/>
            <ac:spMk id="51" creationId="{183D92FF-56E8-2574-C979-0BBD29067556}"/>
          </ac:spMkLst>
        </pc:spChg>
        <pc:spChg chg="add mod">
          <ac:chgData name="Siddhartha Paul" userId="0f6d2a28-7c6e-4106-a327-1058fe8b7c05" providerId="ADAL" clId="{C15EC1BA-EE25-4672-92A2-9249CEBF869C}" dt="2024-02-21T07:45:17.546" v="8395" actId="1076"/>
          <ac:spMkLst>
            <pc:docMk/>
            <pc:sldMk cId="2374332569" sldId="2146847670"/>
            <ac:spMk id="55" creationId="{98C7C1D3-DE36-AB46-BFAD-0A4C7FCD9306}"/>
          </ac:spMkLst>
        </pc:spChg>
        <pc:spChg chg="add mod">
          <ac:chgData name="Siddhartha Paul" userId="0f6d2a28-7c6e-4106-a327-1058fe8b7c05" providerId="ADAL" clId="{C15EC1BA-EE25-4672-92A2-9249CEBF869C}" dt="2024-02-21T07:45:25.874" v="8397" actId="1076"/>
          <ac:spMkLst>
            <pc:docMk/>
            <pc:sldMk cId="2374332569" sldId="2146847670"/>
            <ac:spMk id="56" creationId="{D000AFD5-E197-4274-185B-D01CD9B656C9}"/>
          </ac:spMkLst>
        </pc:spChg>
        <pc:spChg chg="add mod">
          <ac:chgData name="Siddhartha Paul" userId="0f6d2a28-7c6e-4106-a327-1058fe8b7c05" providerId="ADAL" clId="{C15EC1BA-EE25-4672-92A2-9249CEBF869C}" dt="2024-02-21T07:45:35.213" v="8399" actId="1076"/>
          <ac:spMkLst>
            <pc:docMk/>
            <pc:sldMk cId="2374332569" sldId="2146847670"/>
            <ac:spMk id="57" creationId="{45C2817E-ABC0-D168-28B8-8C5ED3A77102}"/>
          </ac:spMkLst>
        </pc:spChg>
        <pc:spChg chg="add mod">
          <ac:chgData name="Siddhartha Paul" userId="0f6d2a28-7c6e-4106-a327-1058fe8b7c05" providerId="ADAL" clId="{C15EC1BA-EE25-4672-92A2-9249CEBF869C}" dt="2024-02-22T05:19:14.689" v="10671" actId="14100"/>
          <ac:spMkLst>
            <pc:docMk/>
            <pc:sldMk cId="2374332569" sldId="2146847670"/>
            <ac:spMk id="58" creationId="{7B1E0A46-96F3-83FC-CFCD-D4541F2E7285}"/>
          </ac:spMkLst>
        </pc:spChg>
        <pc:spChg chg="add mod">
          <ac:chgData name="Siddhartha Paul" userId="0f6d2a28-7c6e-4106-a327-1058fe8b7c05" providerId="ADAL" clId="{C15EC1BA-EE25-4672-92A2-9249CEBF869C}" dt="2024-02-22T05:19:52.895" v="10675" actId="1076"/>
          <ac:spMkLst>
            <pc:docMk/>
            <pc:sldMk cId="2374332569" sldId="2146847670"/>
            <ac:spMk id="59" creationId="{A407D6C4-9233-C41F-EC18-A41BBA5A3E4C}"/>
          </ac:spMkLst>
        </pc:spChg>
        <pc:spChg chg="add mod">
          <ac:chgData name="Siddhartha Paul" userId="0f6d2a28-7c6e-4106-a327-1058fe8b7c05" providerId="ADAL" clId="{C15EC1BA-EE25-4672-92A2-9249CEBF869C}" dt="2024-02-22T05:18:50.888" v="10666" actId="255"/>
          <ac:spMkLst>
            <pc:docMk/>
            <pc:sldMk cId="2374332569" sldId="2146847670"/>
            <ac:spMk id="60" creationId="{8B8DD66D-493F-5BD2-F662-6A49667AC8CE}"/>
          </ac:spMkLst>
        </pc:spChg>
        <pc:spChg chg="add mod">
          <ac:chgData name="Siddhartha Paul" userId="0f6d2a28-7c6e-4106-a327-1058fe8b7c05" providerId="ADAL" clId="{C15EC1BA-EE25-4672-92A2-9249CEBF869C}" dt="2024-02-22T05:19:24.491" v="10673" actId="1076"/>
          <ac:spMkLst>
            <pc:docMk/>
            <pc:sldMk cId="2374332569" sldId="2146847670"/>
            <ac:spMk id="61" creationId="{073E7A67-FD51-5989-1B53-3805E810AED9}"/>
          </ac:spMkLst>
        </pc:spChg>
        <pc:spChg chg="add mod">
          <ac:chgData name="Siddhartha Paul" userId="0f6d2a28-7c6e-4106-a327-1058fe8b7c05" providerId="ADAL" clId="{C15EC1BA-EE25-4672-92A2-9249CEBF869C}" dt="2024-02-22T05:19:05.861" v="10669" actId="14100"/>
          <ac:spMkLst>
            <pc:docMk/>
            <pc:sldMk cId="2374332569" sldId="2146847670"/>
            <ac:spMk id="62" creationId="{92B32A9A-1A21-9479-0D19-7ED977DD8429}"/>
          </ac:spMkLst>
        </pc:spChg>
        <pc:spChg chg="add mod">
          <ac:chgData name="Siddhartha Paul" userId="0f6d2a28-7c6e-4106-a327-1058fe8b7c05" providerId="ADAL" clId="{C15EC1BA-EE25-4672-92A2-9249CEBF869C}" dt="2024-02-22T05:22:10.347" v="10688" actId="1076"/>
          <ac:spMkLst>
            <pc:docMk/>
            <pc:sldMk cId="2374332569" sldId="2146847670"/>
            <ac:spMk id="63" creationId="{406394EE-4986-291D-1E94-6B9CAE127DD4}"/>
          </ac:spMkLst>
        </pc:spChg>
        <pc:spChg chg="add mod">
          <ac:chgData name="Siddhartha Paul" userId="0f6d2a28-7c6e-4106-a327-1058fe8b7c05" providerId="ADAL" clId="{C15EC1BA-EE25-4672-92A2-9249CEBF869C}" dt="2024-02-22T05:41:41.052" v="10959"/>
          <ac:spMkLst>
            <pc:docMk/>
            <pc:sldMk cId="2374332569" sldId="2146847670"/>
            <ac:spMk id="7168" creationId="{2C91FFBB-D8C3-68D3-4FDE-83E641D4A6F6}"/>
          </ac:spMkLst>
        </pc:spChg>
        <pc:spChg chg="add del mod">
          <ac:chgData name="Siddhartha Paul" userId="0f6d2a28-7c6e-4106-a327-1058fe8b7c05" providerId="ADAL" clId="{C15EC1BA-EE25-4672-92A2-9249CEBF869C}" dt="2024-02-22T06:22:04.727" v="11534" actId="478"/>
          <ac:spMkLst>
            <pc:docMk/>
            <pc:sldMk cId="2374332569" sldId="2146847670"/>
            <ac:spMk id="7169" creationId="{1B4F2E7E-2C2F-6B38-94CB-BECA2151EDE2}"/>
          </ac:spMkLst>
        </pc:spChg>
        <pc:spChg chg="add mod">
          <ac:chgData name="Siddhartha Paul" userId="0f6d2a28-7c6e-4106-a327-1058fe8b7c05" providerId="ADAL" clId="{C15EC1BA-EE25-4672-92A2-9249CEBF869C}" dt="2024-02-22T05:41:41.052" v="10959"/>
          <ac:spMkLst>
            <pc:docMk/>
            <pc:sldMk cId="2374332569" sldId="2146847670"/>
            <ac:spMk id="7171" creationId="{240AF2BA-946F-5FCA-C956-A8943E417E86}"/>
          </ac:spMkLst>
        </pc:spChg>
        <pc:spChg chg="add mod">
          <ac:chgData name="Siddhartha Paul" userId="0f6d2a28-7c6e-4106-a327-1058fe8b7c05" providerId="ADAL" clId="{C15EC1BA-EE25-4672-92A2-9249CEBF869C}" dt="2024-02-22T05:41:41.052" v="10959"/>
          <ac:spMkLst>
            <pc:docMk/>
            <pc:sldMk cId="2374332569" sldId="2146847670"/>
            <ac:spMk id="7172" creationId="{F320A620-CEBF-7A42-AED2-2AAE79CB4AEF}"/>
          </ac:spMkLst>
        </pc:spChg>
        <pc:spChg chg="add mod">
          <ac:chgData name="Siddhartha Paul" userId="0f6d2a28-7c6e-4106-a327-1058fe8b7c05" providerId="ADAL" clId="{C15EC1BA-EE25-4672-92A2-9249CEBF869C}" dt="2024-02-22T05:41:41.052" v="10959"/>
          <ac:spMkLst>
            <pc:docMk/>
            <pc:sldMk cId="2374332569" sldId="2146847670"/>
            <ac:spMk id="7173" creationId="{7E077EC0-B8B6-619E-9BCB-A93D23D21A32}"/>
          </ac:spMkLst>
        </pc:spChg>
        <pc:spChg chg="add mod">
          <ac:chgData name="Siddhartha Paul" userId="0f6d2a28-7c6e-4106-a327-1058fe8b7c05" providerId="ADAL" clId="{C15EC1BA-EE25-4672-92A2-9249CEBF869C}" dt="2024-02-22T05:41:41.052" v="10959"/>
          <ac:spMkLst>
            <pc:docMk/>
            <pc:sldMk cId="2374332569" sldId="2146847670"/>
            <ac:spMk id="7174" creationId="{70018D39-7BED-0EF9-72E0-ED694486956F}"/>
          </ac:spMkLst>
        </pc:spChg>
        <pc:spChg chg="add mod">
          <ac:chgData name="Siddhartha Paul" userId="0f6d2a28-7c6e-4106-a327-1058fe8b7c05" providerId="ADAL" clId="{C15EC1BA-EE25-4672-92A2-9249CEBF869C}" dt="2024-02-22T06:22:05.039" v="11535"/>
          <ac:spMkLst>
            <pc:docMk/>
            <pc:sldMk cId="2374332569" sldId="2146847670"/>
            <ac:spMk id="7175" creationId="{140A8E97-FDBF-D2E2-0AE8-3FA46159A5B2}"/>
          </ac:spMkLst>
        </pc:spChg>
        <pc:picChg chg="add mod">
          <ac:chgData name="Siddhartha Paul" userId="0f6d2a28-7c6e-4106-a327-1058fe8b7c05" providerId="ADAL" clId="{C15EC1BA-EE25-4672-92A2-9249CEBF869C}" dt="2024-02-22T05:02:34.709" v="10407" actId="1038"/>
          <ac:picMkLst>
            <pc:docMk/>
            <pc:sldMk cId="2374332569" sldId="2146847670"/>
            <ac:picMk id="4098" creationId="{9FCC8B7F-7D06-9122-66FF-A18A0768BDF8}"/>
          </ac:picMkLst>
        </pc:picChg>
        <pc:picChg chg="add mod">
          <ac:chgData name="Siddhartha Paul" userId="0f6d2a28-7c6e-4106-a327-1058fe8b7c05" providerId="ADAL" clId="{C15EC1BA-EE25-4672-92A2-9249CEBF869C}" dt="2024-02-22T05:04:14.373" v="10417" actId="1035"/>
          <ac:picMkLst>
            <pc:docMk/>
            <pc:sldMk cId="2374332569" sldId="2146847670"/>
            <ac:picMk id="4100" creationId="{F5683017-B7D8-8078-A15A-ED292871E858}"/>
          </ac:picMkLst>
        </pc:picChg>
        <pc:cxnChg chg="add mod">
          <ac:chgData name="Siddhartha Paul" userId="0f6d2a28-7c6e-4106-a327-1058fe8b7c05" providerId="ADAL" clId="{C15EC1BA-EE25-4672-92A2-9249CEBF869C}" dt="2024-02-21T07:44:46.156" v="8391" actId="1076"/>
          <ac:cxnSpMkLst>
            <pc:docMk/>
            <pc:sldMk cId="2374332569" sldId="2146847670"/>
            <ac:cxnSpMk id="22" creationId="{797CBF8D-2557-447D-57D0-0B46F663CA58}"/>
          </ac:cxnSpMkLst>
        </pc:cxnChg>
        <pc:cxnChg chg="del mod">
          <ac:chgData name="Siddhartha Paul" userId="0f6d2a28-7c6e-4106-a327-1058fe8b7c05" providerId="ADAL" clId="{C15EC1BA-EE25-4672-92A2-9249CEBF869C}" dt="2024-02-21T06:55:53.935" v="7125" actId="478"/>
          <ac:cxnSpMkLst>
            <pc:docMk/>
            <pc:sldMk cId="2374332569" sldId="2146847670"/>
            <ac:cxnSpMk id="23" creationId="{EE022894-9482-102F-9783-E2102863656A}"/>
          </ac:cxnSpMkLst>
        </pc:cxnChg>
        <pc:cxnChg chg="add mod">
          <ac:chgData name="Siddhartha Paul" userId="0f6d2a28-7c6e-4106-a327-1058fe8b7c05" providerId="ADAL" clId="{C15EC1BA-EE25-4672-92A2-9249CEBF869C}" dt="2024-02-21T07:44:53.340" v="8393" actId="208"/>
          <ac:cxnSpMkLst>
            <pc:docMk/>
            <pc:sldMk cId="2374332569" sldId="2146847670"/>
            <ac:cxnSpMk id="27" creationId="{07866B41-4033-18AC-1515-9B533F066E54}"/>
          </ac:cxnSpMkLst>
        </pc:cxnChg>
        <pc:cxnChg chg="del mod">
          <ac:chgData name="Siddhartha Paul" userId="0f6d2a28-7c6e-4106-a327-1058fe8b7c05" providerId="ADAL" clId="{C15EC1BA-EE25-4672-92A2-9249CEBF869C}" dt="2024-02-21T06:55:53.935" v="7125" actId="478"/>
          <ac:cxnSpMkLst>
            <pc:docMk/>
            <pc:sldMk cId="2374332569" sldId="2146847670"/>
            <ac:cxnSpMk id="28" creationId="{76511960-5A9C-FA4E-B761-18C2FA9970FD}"/>
          </ac:cxnSpMkLst>
        </pc:cxnChg>
        <pc:cxnChg chg="del mod">
          <ac:chgData name="Siddhartha Paul" userId="0f6d2a28-7c6e-4106-a327-1058fe8b7c05" providerId="ADAL" clId="{C15EC1BA-EE25-4672-92A2-9249CEBF869C}" dt="2024-02-21T06:55:53.935" v="7125" actId="478"/>
          <ac:cxnSpMkLst>
            <pc:docMk/>
            <pc:sldMk cId="2374332569" sldId="2146847670"/>
            <ac:cxnSpMk id="30" creationId="{3F67A32A-F0E6-BEDB-EA82-E1DA1F5DF578}"/>
          </ac:cxnSpMkLst>
        </pc:cxnChg>
        <pc:cxnChg chg="del mod">
          <ac:chgData name="Siddhartha Paul" userId="0f6d2a28-7c6e-4106-a327-1058fe8b7c05" providerId="ADAL" clId="{C15EC1BA-EE25-4672-92A2-9249CEBF869C}" dt="2024-02-21T06:55:53.935" v="7125" actId="478"/>
          <ac:cxnSpMkLst>
            <pc:docMk/>
            <pc:sldMk cId="2374332569" sldId="2146847670"/>
            <ac:cxnSpMk id="32" creationId="{B44E4C13-F049-44BB-06CC-3C6E21F45A40}"/>
          </ac:cxnSpMkLst>
        </pc:cxnChg>
        <pc:cxnChg chg="del mod">
          <ac:chgData name="Siddhartha Paul" userId="0f6d2a28-7c6e-4106-a327-1058fe8b7c05" providerId="ADAL" clId="{C15EC1BA-EE25-4672-92A2-9249CEBF869C}" dt="2024-02-21T06:55:53.935" v="7125" actId="478"/>
          <ac:cxnSpMkLst>
            <pc:docMk/>
            <pc:sldMk cId="2374332569" sldId="2146847670"/>
            <ac:cxnSpMk id="34" creationId="{1F767223-FAB2-1367-CE52-B1DC34294839}"/>
          </ac:cxnSpMkLst>
        </pc:cxnChg>
      </pc:sldChg>
      <pc:sldChg chg="addSp delSp modSp add mod delAnim modAnim">
        <pc:chgData name="Siddhartha Paul" userId="0f6d2a28-7c6e-4106-a327-1058fe8b7c05" providerId="ADAL" clId="{C15EC1BA-EE25-4672-92A2-9249CEBF869C}" dt="2024-02-22T07:04:41.474" v="12172"/>
        <pc:sldMkLst>
          <pc:docMk/>
          <pc:sldMk cId="1357400462" sldId="2146847671"/>
        </pc:sldMkLst>
        <pc:spChg chg="del">
          <ac:chgData name="Siddhartha Paul" userId="0f6d2a28-7c6e-4106-a327-1058fe8b7c05" providerId="ADAL" clId="{C15EC1BA-EE25-4672-92A2-9249CEBF869C}" dt="2024-02-21T07:00:50.257" v="7164" actId="478"/>
          <ac:spMkLst>
            <pc:docMk/>
            <pc:sldMk cId="1357400462" sldId="2146847671"/>
            <ac:spMk id="3" creationId="{3C6A8DA0-7B03-3076-4470-6677CD1FC00A}"/>
          </ac:spMkLst>
        </pc:spChg>
        <pc:spChg chg="del">
          <ac:chgData name="Siddhartha Paul" userId="0f6d2a28-7c6e-4106-a327-1058fe8b7c05" providerId="ADAL" clId="{C15EC1BA-EE25-4672-92A2-9249CEBF869C}" dt="2024-02-21T07:00:50.257" v="7164" actId="478"/>
          <ac:spMkLst>
            <pc:docMk/>
            <pc:sldMk cId="1357400462" sldId="2146847671"/>
            <ac:spMk id="4" creationId="{B49178FC-DD46-75EC-2D11-C4B382F54916}"/>
          </ac:spMkLst>
        </pc:spChg>
        <pc:spChg chg="del">
          <ac:chgData name="Siddhartha Paul" userId="0f6d2a28-7c6e-4106-a327-1058fe8b7c05" providerId="ADAL" clId="{C15EC1BA-EE25-4672-92A2-9249CEBF869C}" dt="2024-02-21T07:00:50.257" v="7164" actId="478"/>
          <ac:spMkLst>
            <pc:docMk/>
            <pc:sldMk cId="1357400462" sldId="2146847671"/>
            <ac:spMk id="5" creationId="{EB6620F3-097D-3613-53A4-2ED7A0BE74DE}"/>
          </ac:spMkLst>
        </pc:spChg>
        <pc:spChg chg="del">
          <ac:chgData name="Siddhartha Paul" userId="0f6d2a28-7c6e-4106-a327-1058fe8b7c05" providerId="ADAL" clId="{C15EC1BA-EE25-4672-92A2-9249CEBF869C}" dt="2024-02-21T07:00:50.257" v="7164" actId="478"/>
          <ac:spMkLst>
            <pc:docMk/>
            <pc:sldMk cId="1357400462" sldId="2146847671"/>
            <ac:spMk id="6" creationId="{2F94DE3A-EAC0-507A-DBAB-22F33C98DA10}"/>
          </ac:spMkLst>
        </pc:spChg>
        <pc:spChg chg="mod">
          <ac:chgData name="Siddhartha Paul" userId="0f6d2a28-7c6e-4106-a327-1058fe8b7c05" providerId="ADAL" clId="{C15EC1BA-EE25-4672-92A2-9249CEBF869C}" dt="2024-02-21T07:28:39.725" v="8038" actId="108"/>
          <ac:spMkLst>
            <pc:docMk/>
            <pc:sldMk cId="1357400462" sldId="2146847671"/>
            <ac:spMk id="7" creationId="{238D0DE0-522F-29B0-8202-964439F707B1}"/>
          </ac:spMkLst>
        </pc:spChg>
        <pc:spChg chg="del">
          <ac:chgData name="Siddhartha Paul" userId="0f6d2a28-7c6e-4106-a327-1058fe8b7c05" providerId="ADAL" clId="{C15EC1BA-EE25-4672-92A2-9249CEBF869C}" dt="2024-02-21T07:00:50.257" v="7164" actId="478"/>
          <ac:spMkLst>
            <pc:docMk/>
            <pc:sldMk cId="1357400462" sldId="2146847671"/>
            <ac:spMk id="8" creationId="{678E9521-1B1E-40FC-8985-106E34889E9A}"/>
          </ac:spMkLst>
        </pc:spChg>
        <pc:spChg chg="del">
          <ac:chgData name="Siddhartha Paul" userId="0f6d2a28-7c6e-4106-a327-1058fe8b7c05" providerId="ADAL" clId="{C15EC1BA-EE25-4672-92A2-9249CEBF869C}" dt="2024-02-21T07:00:50.257" v="7164" actId="478"/>
          <ac:spMkLst>
            <pc:docMk/>
            <pc:sldMk cId="1357400462" sldId="2146847671"/>
            <ac:spMk id="9" creationId="{43DDF402-EE1A-546C-89D4-4F3AAB519CCE}"/>
          </ac:spMkLst>
        </pc:spChg>
        <pc:spChg chg="del">
          <ac:chgData name="Siddhartha Paul" userId="0f6d2a28-7c6e-4106-a327-1058fe8b7c05" providerId="ADAL" clId="{C15EC1BA-EE25-4672-92A2-9249CEBF869C}" dt="2024-02-21T07:00:50.257" v="7164" actId="478"/>
          <ac:spMkLst>
            <pc:docMk/>
            <pc:sldMk cId="1357400462" sldId="2146847671"/>
            <ac:spMk id="10" creationId="{332A248B-20D3-0314-FB12-E5A7F557598F}"/>
          </ac:spMkLst>
        </pc:spChg>
        <pc:spChg chg="del">
          <ac:chgData name="Siddhartha Paul" userId="0f6d2a28-7c6e-4106-a327-1058fe8b7c05" providerId="ADAL" clId="{C15EC1BA-EE25-4672-92A2-9249CEBF869C}" dt="2024-02-21T07:00:50.257" v="7164" actId="478"/>
          <ac:spMkLst>
            <pc:docMk/>
            <pc:sldMk cId="1357400462" sldId="2146847671"/>
            <ac:spMk id="11" creationId="{2DB6E740-6DDA-D5F9-221A-4DAFA7FA8C0B}"/>
          </ac:spMkLst>
        </pc:spChg>
        <pc:spChg chg="add mod">
          <ac:chgData name="Siddhartha Paul" userId="0f6d2a28-7c6e-4106-a327-1058fe8b7c05" providerId="ADAL" clId="{C15EC1BA-EE25-4672-92A2-9249CEBF869C}" dt="2024-02-21T07:01:14.154" v="7184" actId="20577"/>
          <ac:spMkLst>
            <pc:docMk/>
            <pc:sldMk cId="1357400462" sldId="2146847671"/>
            <ac:spMk id="12" creationId="{0B52AE05-92C3-17AD-2279-8A4131D3CC69}"/>
          </ac:spMkLst>
        </pc:spChg>
        <pc:spChg chg="add mod">
          <ac:chgData name="Siddhartha Paul" userId="0f6d2a28-7c6e-4106-a327-1058fe8b7c05" providerId="ADAL" clId="{C15EC1BA-EE25-4672-92A2-9249CEBF869C}" dt="2024-02-21T07:01:22.469" v="7194" actId="20577"/>
          <ac:spMkLst>
            <pc:docMk/>
            <pc:sldMk cId="1357400462" sldId="2146847671"/>
            <ac:spMk id="13" creationId="{C4C2F276-C362-0976-73F7-F28CE551C8A5}"/>
          </ac:spMkLst>
        </pc:spChg>
        <pc:spChg chg="del">
          <ac:chgData name="Siddhartha Paul" userId="0f6d2a28-7c6e-4106-a327-1058fe8b7c05" providerId="ADAL" clId="{C15EC1BA-EE25-4672-92A2-9249CEBF869C}" dt="2024-02-21T07:00:50.257" v="7164" actId="478"/>
          <ac:spMkLst>
            <pc:docMk/>
            <pc:sldMk cId="1357400462" sldId="2146847671"/>
            <ac:spMk id="14" creationId="{20F0C619-8785-C50A-1738-A6B2F36618E7}"/>
          </ac:spMkLst>
        </pc:spChg>
        <pc:spChg chg="del">
          <ac:chgData name="Siddhartha Paul" userId="0f6d2a28-7c6e-4106-a327-1058fe8b7c05" providerId="ADAL" clId="{C15EC1BA-EE25-4672-92A2-9249CEBF869C}" dt="2024-02-21T07:00:50.257" v="7164" actId="478"/>
          <ac:spMkLst>
            <pc:docMk/>
            <pc:sldMk cId="1357400462" sldId="2146847671"/>
            <ac:spMk id="15" creationId="{3324B2D2-E19D-3E11-7E43-998788228B8A}"/>
          </ac:spMkLst>
        </pc:spChg>
        <pc:spChg chg="del">
          <ac:chgData name="Siddhartha Paul" userId="0f6d2a28-7c6e-4106-a327-1058fe8b7c05" providerId="ADAL" clId="{C15EC1BA-EE25-4672-92A2-9249CEBF869C}" dt="2024-02-21T07:00:50.257" v="7164" actId="478"/>
          <ac:spMkLst>
            <pc:docMk/>
            <pc:sldMk cId="1357400462" sldId="2146847671"/>
            <ac:spMk id="16" creationId="{7390529C-AD87-07EC-4CCA-06A7F78B2A9D}"/>
          </ac:spMkLst>
        </pc:spChg>
        <pc:spChg chg="del">
          <ac:chgData name="Siddhartha Paul" userId="0f6d2a28-7c6e-4106-a327-1058fe8b7c05" providerId="ADAL" clId="{C15EC1BA-EE25-4672-92A2-9249CEBF869C}" dt="2024-02-21T07:00:50.257" v="7164" actId="478"/>
          <ac:spMkLst>
            <pc:docMk/>
            <pc:sldMk cId="1357400462" sldId="2146847671"/>
            <ac:spMk id="17" creationId="{8852DF76-7039-6A1D-4C0B-2989FE7A2E32}"/>
          </ac:spMkLst>
        </pc:spChg>
        <pc:spChg chg="del">
          <ac:chgData name="Siddhartha Paul" userId="0f6d2a28-7c6e-4106-a327-1058fe8b7c05" providerId="ADAL" clId="{C15EC1BA-EE25-4672-92A2-9249CEBF869C}" dt="2024-02-21T07:00:50.257" v="7164" actId="478"/>
          <ac:spMkLst>
            <pc:docMk/>
            <pc:sldMk cId="1357400462" sldId="2146847671"/>
            <ac:spMk id="18" creationId="{FDF7DBEF-1129-6C22-AB52-B23D55DE074D}"/>
          </ac:spMkLst>
        </pc:spChg>
        <pc:spChg chg="del">
          <ac:chgData name="Siddhartha Paul" userId="0f6d2a28-7c6e-4106-a327-1058fe8b7c05" providerId="ADAL" clId="{C15EC1BA-EE25-4672-92A2-9249CEBF869C}" dt="2024-02-21T07:00:50.257" v="7164" actId="478"/>
          <ac:spMkLst>
            <pc:docMk/>
            <pc:sldMk cId="1357400462" sldId="2146847671"/>
            <ac:spMk id="20" creationId="{E81236C2-3351-A598-6859-A5F7BF764889}"/>
          </ac:spMkLst>
        </pc:spChg>
        <pc:spChg chg="add mod">
          <ac:chgData name="Siddhartha Paul" userId="0f6d2a28-7c6e-4106-a327-1058fe8b7c05" providerId="ADAL" clId="{C15EC1BA-EE25-4672-92A2-9249CEBF869C}" dt="2024-02-21T07:22:24.062" v="7920" actId="115"/>
          <ac:spMkLst>
            <pc:docMk/>
            <pc:sldMk cId="1357400462" sldId="2146847671"/>
            <ac:spMk id="21" creationId="{5137D2D7-DE4A-6BB3-1ABC-85F7C8B05BFA}"/>
          </ac:spMkLst>
        </pc:spChg>
        <pc:spChg chg="add mod">
          <ac:chgData name="Siddhartha Paul" userId="0f6d2a28-7c6e-4106-a327-1058fe8b7c05" providerId="ADAL" clId="{C15EC1BA-EE25-4672-92A2-9249CEBF869C}" dt="2024-02-22T04:51:32.197" v="10352" actId="20577"/>
          <ac:spMkLst>
            <pc:docMk/>
            <pc:sldMk cId="1357400462" sldId="2146847671"/>
            <ac:spMk id="22" creationId="{832A5408-1E20-0B75-B55B-4BD83D4F910E}"/>
          </ac:spMkLst>
        </pc:spChg>
        <pc:spChg chg="add del mod">
          <ac:chgData name="Siddhartha Paul" userId="0f6d2a28-7c6e-4106-a327-1058fe8b7c05" providerId="ADAL" clId="{C15EC1BA-EE25-4672-92A2-9249CEBF869C}" dt="2024-02-21T07:10:36.234" v="7446"/>
          <ac:spMkLst>
            <pc:docMk/>
            <pc:sldMk cId="1357400462" sldId="2146847671"/>
            <ac:spMk id="24" creationId="{AAD7C718-0072-EF34-2C5B-70EA786D8F5F}"/>
          </ac:spMkLst>
        </pc:spChg>
        <pc:spChg chg="add mod">
          <ac:chgData name="Siddhartha Paul" userId="0f6d2a28-7c6e-4106-a327-1058fe8b7c05" providerId="ADAL" clId="{C15EC1BA-EE25-4672-92A2-9249CEBF869C}" dt="2024-02-21T07:57:32.206" v="8728" actId="207"/>
          <ac:spMkLst>
            <pc:docMk/>
            <pc:sldMk cId="1357400462" sldId="2146847671"/>
            <ac:spMk id="25" creationId="{6BBF5667-5F94-129F-1DF2-9131AB4F1DDA}"/>
          </ac:spMkLst>
        </pc:spChg>
        <pc:spChg chg="add mod">
          <ac:chgData name="Siddhartha Paul" userId="0f6d2a28-7c6e-4106-a327-1058fe8b7c05" providerId="ADAL" clId="{C15EC1BA-EE25-4672-92A2-9249CEBF869C}" dt="2024-02-21T07:28:16.038" v="8007" actId="14100"/>
          <ac:spMkLst>
            <pc:docMk/>
            <pc:sldMk cId="1357400462" sldId="2146847671"/>
            <ac:spMk id="26" creationId="{330A626E-57B0-E54A-55F6-B44E6D563DE8}"/>
          </ac:spMkLst>
        </pc:spChg>
        <pc:spChg chg="add mod">
          <ac:chgData name="Siddhartha Paul" userId="0f6d2a28-7c6e-4106-a327-1058fe8b7c05" providerId="ADAL" clId="{C15EC1BA-EE25-4672-92A2-9249CEBF869C}" dt="2024-02-21T07:25:17.974" v="7967" actId="20577"/>
          <ac:spMkLst>
            <pc:docMk/>
            <pc:sldMk cId="1357400462" sldId="2146847671"/>
            <ac:spMk id="27" creationId="{A481658F-3FCB-7C57-AED8-95FE61BFE1F9}"/>
          </ac:spMkLst>
        </pc:spChg>
        <pc:spChg chg="add mod">
          <ac:chgData name="Siddhartha Paul" userId="0f6d2a28-7c6e-4106-a327-1058fe8b7c05" providerId="ADAL" clId="{C15EC1BA-EE25-4672-92A2-9249CEBF869C}" dt="2024-02-21T07:25:16.055" v="7966" actId="1076"/>
          <ac:spMkLst>
            <pc:docMk/>
            <pc:sldMk cId="1357400462" sldId="2146847671"/>
            <ac:spMk id="28" creationId="{750142D3-B33F-8DE5-5B92-D3C1D9DDB966}"/>
          </ac:spMkLst>
        </pc:spChg>
        <pc:spChg chg="add mod">
          <ac:chgData name="Siddhartha Paul" userId="0f6d2a28-7c6e-4106-a327-1058fe8b7c05" providerId="ADAL" clId="{C15EC1BA-EE25-4672-92A2-9249CEBF869C}" dt="2024-02-21T07:25:38.196" v="7970" actId="208"/>
          <ac:spMkLst>
            <pc:docMk/>
            <pc:sldMk cId="1357400462" sldId="2146847671"/>
            <ac:spMk id="29" creationId="{D86FFBC0-B211-6272-52E3-7BF7E249170F}"/>
          </ac:spMkLst>
        </pc:spChg>
        <pc:spChg chg="add mod">
          <ac:chgData name="Siddhartha Paul" userId="0f6d2a28-7c6e-4106-a327-1058fe8b7c05" providerId="ADAL" clId="{C15EC1BA-EE25-4672-92A2-9249CEBF869C}" dt="2024-02-21T07:25:51.742" v="7977" actId="1035"/>
          <ac:spMkLst>
            <pc:docMk/>
            <pc:sldMk cId="1357400462" sldId="2146847671"/>
            <ac:spMk id="30" creationId="{5E2CF6EF-2FFF-93BC-FCB3-DE92A89A530F}"/>
          </ac:spMkLst>
        </pc:spChg>
        <pc:spChg chg="add mod">
          <ac:chgData name="Siddhartha Paul" userId="0f6d2a28-7c6e-4106-a327-1058fe8b7c05" providerId="ADAL" clId="{C15EC1BA-EE25-4672-92A2-9249CEBF869C}" dt="2024-02-21T07:26:56.267" v="7989" actId="1076"/>
          <ac:spMkLst>
            <pc:docMk/>
            <pc:sldMk cId="1357400462" sldId="2146847671"/>
            <ac:spMk id="31" creationId="{A0EB121D-AFEB-DC76-C2E5-F19BB743C540}"/>
          </ac:spMkLst>
        </pc:spChg>
        <pc:spChg chg="add mod">
          <ac:chgData name="Siddhartha Paul" userId="0f6d2a28-7c6e-4106-a327-1058fe8b7c05" providerId="ADAL" clId="{C15EC1BA-EE25-4672-92A2-9249CEBF869C}" dt="2024-02-21T07:27:26.684" v="7999" actId="1076"/>
          <ac:spMkLst>
            <pc:docMk/>
            <pc:sldMk cId="1357400462" sldId="2146847671"/>
            <ac:spMk id="32" creationId="{C1AC3055-0A4C-A567-14BD-5D0C41518D75}"/>
          </ac:spMkLst>
        </pc:spChg>
        <pc:spChg chg="add mod">
          <ac:chgData name="Siddhartha Paul" userId="0f6d2a28-7c6e-4106-a327-1058fe8b7c05" providerId="ADAL" clId="{C15EC1BA-EE25-4672-92A2-9249CEBF869C}" dt="2024-02-21T07:27:33.201" v="8002" actId="1076"/>
          <ac:spMkLst>
            <pc:docMk/>
            <pc:sldMk cId="1357400462" sldId="2146847671"/>
            <ac:spMk id="33" creationId="{B34886AA-4B0D-D4B2-F329-FF1863B1316E}"/>
          </ac:spMkLst>
        </pc:spChg>
        <pc:spChg chg="add mod">
          <ac:chgData name="Siddhartha Paul" userId="0f6d2a28-7c6e-4106-a327-1058fe8b7c05" providerId="ADAL" clId="{C15EC1BA-EE25-4672-92A2-9249CEBF869C}" dt="2024-02-21T07:27:23.805" v="7998" actId="1076"/>
          <ac:spMkLst>
            <pc:docMk/>
            <pc:sldMk cId="1357400462" sldId="2146847671"/>
            <ac:spMk id="34" creationId="{E00B1C0C-2373-8FF9-7F84-AA37F719F180}"/>
          </ac:spMkLst>
        </pc:spChg>
        <pc:spChg chg="add mod">
          <ac:chgData name="Siddhartha Paul" userId="0f6d2a28-7c6e-4106-a327-1058fe8b7c05" providerId="ADAL" clId="{C15EC1BA-EE25-4672-92A2-9249CEBF869C}" dt="2024-02-21T07:27:29.571" v="8001" actId="1076"/>
          <ac:spMkLst>
            <pc:docMk/>
            <pc:sldMk cId="1357400462" sldId="2146847671"/>
            <ac:spMk id="35" creationId="{3017534A-D5D0-A113-F8CD-5EAAC3CD5123}"/>
          </ac:spMkLst>
        </pc:spChg>
        <pc:spChg chg="add mod">
          <ac:chgData name="Siddhartha Paul" userId="0f6d2a28-7c6e-4106-a327-1058fe8b7c05" providerId="ADAL" clId="{C15EC1BA-EE25-4672-92A2-9249CEBF869C}" dt="2024-02-21T07:27:36.549" v="8004" actId="1076"/>
          <ac:spMkLst>
            <pc:docMk/>
            <pc:sldMk cId="1357400462" sldId="2146847671"/>
            <ac:spMk id="36" creationId="{1B928281-E61D-D8F3-4129-BD8CB313DFF2}"/>
          </ac:spMkLst>
        </pc:spChg>
        <pc:spChg chg="add del mod">
          <ac:chgData name="Siddhartha Paul" userId="0f6d2a28-7c6e-4106-a327-1058fe8b7c05" providerId="ADAL" clId="{C15EC1BA-EE25-4672-92A2-9249CEBF869C}" dt="2024-02-21T08:26:35.960" v="9590" actId="21"/>
          <ac:spMkLst>
            <pc:docMk/>
            <pc:sldMk cId="1357400462" sldId="2146847671"/>
            <ac:spMk id="37" creationId="{DC3D94D4-2FAB-18E0-744A-81926DEBC539}"/>
          </ac:spMkLst>
        </pc:spChg>
        <pc:spChg chg="add del mod">
          <ac:chgData name="Siddhartha Paul" userId="0f6d2a28-7c6e-4106-a327-1058fe8b7c05" providerId="ADAL" clId="{C15EC1BA-EE25-4672-92A2-9249CEBF869C}" dt="2024-02-21T10:44:08.352" v="9753" actId="21"/>
          <ac:spMkLst>
            <pc:docMk/>
            <pc:sldMk cId="1357400462" sldId="2146847671"/>
            <ac:spMk id="38" creationId="{FA52F214-07A2-3D9A-1F41-6A61DDCC105A}"/>
          </ac:spMkLst>
        </pc:spChg>
        <pc:spChg chg="add del mod">
          <ac:chgData name="Siddhartha Paul" userId="0f6d2a28-7c6e-4106-a327-1058fe8b7c05" providerId="ADAL" clId="{C15EC1BA-EE25-4672-92A2-9249CEBF869C}" dt="2024-02-22T06:56:13.213" v="11884" actId="478"/>
          <ac:spMkLst>
            <pc:docMk/>
            <pc:sldMk cId="1357400462" sldId="2146847671"/>
            <ac:spMk id="39" creationId="{1DD83D5F-DC0A-D5E8-7473-4023F5103731}"/>
          </ac:spMkLst>
        </pc:spChg>
        <pc:spChg chg="add del mod">
          <ac:chgData name="Siddhartha Paul" userId="0f6d2a28-7c6e-4106-a327-1058fe8b7c05" providerId="ADAL" clId="{C15EC1BA-EE25-4672-92A2-9249CEBF869C}" dt="2024-02-22T06:21:48.710" v="11526" actId="478"/>
          <ac:spMkLst>
            <pc:docMk/>
            <pc:sldMk cId="1357400462" sldId="2146847671"/>
            <ac:spMk id="40" creationId="{5DB295F1-003F-4C92-3507-D45A40BD6215}"/>
          </ac:spMkLst>
        </pc:spChg>
        <pc:spChg chg="add mod">
          <ac:chgData name="Siddhartha Paul" userId="0f6d2a28-7c6e-4106-a327-1058fe8b7c05" providerId="ADAL" clId="{C15EC1BA-EE25-4672-92A2-9249CEBF869C}" dt="2024-02-22T05:40:33.755" v="10943" actId="207"/>
          <ac:spMkLst>
            <pc:docMk/>
            <pc:sldMk cId="1357400462" sldId="2146847671"/>
            <ac:spMk id="41" creationId="{353E25F5-335D-AD3A-5FCE-BB33A66176DA}"/>
          </ac:spMkLst>
        </pc:spChg>
        <pc:spChg chg="add mod">
          <ac:chgData name="Siddhartha Paul" userId="0f6d2a28-7c6e-4106-a327-1058fe8b7c05" providerId="ADAL" clId="{C15EC1BA-EE25-4672-92A2-9249CEBF869C}" dt="2024-02-22T05:40:38.291" v="10944" actId="207"/>
          <ac:spMkLst>
            <pc:docMk/>
            <pc:sldMk cId="1357400462" sldId="2146847671"/>
            <ac:spMk id="42" creationId="{90063B21-DDB7-F2B9-B2E0-B6109C8FE9BC}"/>
          </ac:spMkLst>
        </pc:spChg>
        <pc:spChg chg="add mod">
          <ac:chgData name="Siddhartha Paul" userId="0f6d2a28-7c6e-4106-a327-1058fe8b7c05" providerId="ADAL" clId="{C15EC1BA-EE25-4672-92A2-9249CEBF869C}" dt="2024-02-22T05:40:25.515" v="10942"/>
          <ac:spMkLst>
            <pc:docMk/>
            <pc:sldMk cId="1357400462" sldId="2146847671"/>
            <ac:spMk id="43" creationId="{8F936118-D347-227A-C510-09D8CC0456C5}"/>
          </ac:spMkLst>
        </pc:spChg>
        <pc:spChg chg="add mod">
          <ac:chgData name="Siddhartha Paul" userId="0f6d2a28-7c6e-4106-a327-1058fe8b7c05" providerId="ADAL" clId="{C15EC1BA-EE25-4672-92A2-9249CEBF869C}" dt="2024-02-22T05:40:25.515" v="10942"/>
          <ac:spMkLst>
            <pc:docMk/>
            <pc:sldMk cId="1357400462" sldId="2146847671"/>
            <ac:spMk id="44" creationId="{541652E5-2C8A-2434-5110-15D8B7DCB2AB}"/>
          </ac:spMkLst>
        </pc:spChg>
        <pc:spChg chg="add mod">
          <ac:chgData name="Siddhartha Paul" userId="0f6d2a28-7c6e-4106-a327-1058fe8b7c05" providerId="ADAL" clId="{C15EC1BA-EE25-4672-92A2-9249CEBF869C}" dt="2024-02-22T07:04:41.474" v="12172"/>
          <ac:spMkLst>
            <pc:docMk/>
            <pc:sldMk cId="1357400462" sldId="2146847671"/>
            <ac:spMk id="45" creationId="{462AFF13-17D2-9C6B-8B85-155EFEEA71DF}"/>
          </ac:spMkLst>
        </pc:spChg>
        <pc:spChg chg="add mod">
          <ac:chgData name="Siddhartha Paul" userId="0f6d2a28-7c6e-4106-a327-1058fe8b7c05" providerId="ADAL" clId="{C15EC1BA-EE25-4672-92A2-9249CEBF869C}" dt="2024-02-22T06:56:13.550" v="11885"/>
          <ac:spMkLst>
            <pc:docMk/>
            <pc:sldMk cId="1357400462" sldId="2146847671"/>
            <ac:spMk id="46" creationId="{79173096-848E-A243-5AF3-43980C2340C5}"/>
          </ac:spMkLst>
        </pc:spChg>
        <pc:spChg chg="del">
          <ac:chgData name="Siddhartha Paul" userId="0f6d2a28-7c6e-4106-a327-1058fe8b7c05" providerId="ADAL" clId="{C15EC1BA-EE25-4672-92A2-9249CEBF869C}" dt="2024-02-22T04:32:26.592" v="10290" actId="478"/>
          <ac:spMkLst>
            <pc:docMk/>
            <pc:sldMk cId="1357400462" sldId="2146847671"/>
            <ac:spMk id="85" creationId="{1F6B9833-AB55-EB07-110B-883781FC10FD}"/>
          </ac:spMkLst>
        </pc:spChg>
        <pc:picChg chg="del">
          <ac:chgData name="Siddhartha Paul" userId="0f6d2a28-7c6e-4106-a327-1058fe8b7c05" providerId="ADAL" clId="{C15EC1BA-EE25-4672-92A2-9249CEBF869C}" dt="2024-02-21T07:00:50.257" v="7164" actId="478"/>
          <ac:picMkLst>
            <pc:docMk/>
            <pc:sldMk cId="1357400462" sldId="2146847671"/>
            <ac:picMk id="2" creationId="{DD52294C-1368-75DD-B79B-BB47E00BF09F}"/>
          </ac:picMkLst>
        </pc:picChg>
        <pc:picChg chg="del">
          <ac:chgData name="Siddhartha Paul" userId="0f6d2a28-7c6e-4106-a327-1058fe8b7c05" providerId="ADAL" clId="{C15EC1BA-EE25-4672-92A2-9249CEBF869C}" dt="2024-02-21T07:00:50.257" v="7164" actId="478"/>
          <ac:picMkLst>
            <pc:docMk/>
            <pc:sldMk cId="1357400462" sldId="2146847671"/>
            <ac:picMk id="19" creationId="{3A4C2405-7FDA-36BB-5F2C-EB9C7664F226}"/>
          </ac:picMkLst>
        </pc:picChg>
        <pc:picChg chg="add mod">
          <ac:chgData name="Siddhartha Paul" userId="0f6d2a28-7c6e-4106-a327-1058fe8b7c05" providerId="ADAL" clId="{C15EC1BA-EE25-4672-92A2-9249CEBF869C}" dt="2024-02-21T07:27:44.473" v="8005" actId="1076"/>
          <ac:picMkLst>
            <pc:docMk/>
            <pc:sldMk cId="1357400462" sldId="2146847671"/>
            <ac:picMk id="23" creationId="{012285AE-2DDB-3692-079F-C2FFA4C3A9BE}"/>
          </ac:picMkLst>
        </pc:picChg>
      </pc:sldChg>
      <pc:sldChg chg="addSp delSp modSp add mod delAnim modAnim">
        <pc:chgData name="Siddhartha Paul" userId="0f6d2a28-7c6e-4106-a327-1058fe8b7c05" providerId="ADAL" clId="{C15EC1BA-EE25-4672-92A2-9249CEBF869C}" dt="2024-02-22T07:04:44.427" v="12173"/>
        <pc:sldMkLst>
          <pc:docMk/>
          <pc:sldMk cId="1613743490" sldId="2146847672"/>
        </pc:sldMkLst>
        <pc:spChg chg="add mod">
          <ac:chgData name="Siddhartha Paul" userId="0f6d2a28-7c6e-4106-a327-1058fe8b7c05" providerId="ADAL" clId="{C15EC1BA-EE25-4672-92A2-9249CEBF869C}" dt="2024-02-21T07:55:22.271" v="8625"/>
          <ac:spMkLst>
            <pc:docMk/>
            <pc:sldMk cId="1613743490" sldId="2146847672"/>
            <ac:spMk id="4" creationId="{F30060C7-0563-FC34-58A5-867F74672333}"/>
          </ac:spMkLst>
        </pc:spChg>
        <pc:spChg chg="add mod">
          <ac:chgData name="Siddhartha Paul" userId="0f6d2a28-7c6e-4106-a327-1058fe8b7c05" providerId="ADAL" clId="{C15EC1BA-EE25-4672-92A2-9249CEBF869C}" dt="2024-02-21T13:00:39.408" v="10119" actId="20577"/>
          <ac:spMkLst>
            <pc:docMk/>
            <pc:sldMk cId="1613743490" sldId="2146847672"/>
            <ac:spMk id="5" creationId="{CEDB79C8-2EED-B3A6-487A-192B56D0D214}"/>
          </ac:spMkLst>
        </pc:spChg>
        <pc:spChg chg="add del mod">
          <ac:chgData name="Siddhartha Paul" userId="0f6d2a28-7c6e-4106-a327-1058fe8b7c05" providerId="ADAL" clId="{C15EC1BA-EE25-4672-92A2-9249CEBF869C}" dt="2024-02-21T13:00:33.651" v="10117" actId="478"/>
          <ac:spMkLst>
            <pc:docMk/>
            <pc:sldMk cId="1613743490" sldId="2146847672"/>
            <ac:spMk id="6" creationId="{4C0F80CB-3057-7739-E3F1-DD8756373FCD}"/>
          </ac:spMkLst>
        </pc:spChg>
        <pc:spChg chg="add mod">
          <ac:chgData name="Siddhartha Paul" userId="0f6d2a28-7c6e-4106-a327-1058fe8b7c05" providerId="ADAL" clId="{C15EC1BA-EE25-4672-92A2-9249CEBF869C}" dt="2024-02-22T05:40:44.705" v="10945"/>
          <ac:spMkLst>
            <pc:docMk/>
            <pc:sldMk cId="1613743490" sldId="2146847672"/>
            <ac:spMk id="8" creationId="{C488EB95-3D03-3E21-45AD-053020EEDFA8}"/>
          </ac:spMkLst>
        </pc:spChg>
        <pc:spChg chg="add mod">
          <ac:chgData name="Siddhartha Paul" userId="0f6d2a28-7c6e-4106-a327-1058fe8b7c05" providerId="ADAL" clId="{C15EC1BA-EE25-4672-92A2-9249CEBF869C}" dt="2024-02-22T05:40:44.705" v="10945"/>
          <ac:spMkLst>
            <pc:docMk/>
            <pc:sldMk cId="1613743490" sldId="2146847672"/>
            <ac:spMk id="9" creationId="{02159AA2-930E-AD14-C31D-593A1130C887}"/>
          </ac:spMkLst>
        </pc:spChg>
        <pc:spChg chg="add mod">
          <ac:chgData name="Siddhartha Paul" userId="0f6d2a28-7c6e-4106-a327-1058fe8b7c05" providerId="ADAL" clId="{C15EC1BA-EE25-4672-92A2-9249CEBF869C}" dt="2024-02-22T05:40:44.705" v="10945"/>
          <ac:spMkLst>
            <pc:docMk/>
            <pc:sldMk cId="1613743490" sldId="2146847672"/>
            <ac:spMk id="10" creationId="{B896CCBD-0FEC-EADB-37AD-8DB565F5946F}"/>
          </ac:spMkLst>
        </pc:spChg>
        <pc:spChg chg="add mod">
          <ac:chgData name="Siddhartha Paul" userId="0f6d2a28-7c6e-4106-a327-1058fe8b7c05" providerId="ADAL" clId="{C15EC1BA-EE25-4672-92A2-9249CEBF869C}" dt="2024-02-22T05:40:44.705" v="10945"/>
          <ac:spMkLst>
            <pc:docMk/>
            <pc:sldMk cId="1613743490" sldId="2146847672"/>
            <ac:spMk id="11" creationId="{4C1940B3-423E-9795-65DF-2E1B36DD8B5F}"/>
          </ac:spMkLst>
        </pc:spChg>
        <pc:spChg chg="mod">
          <ac:chgData name="Siddhartha Paul" userId="0f6d2a28-7c6e-4106-a327-1058fe8b7c05" providerId="ADAL" clId="{C15EC1BA-EE25-4672-92A2-9249CEBF869C}" dt="2024-02-21T07:29:22.089" v="8049" actId="207"/>
          <ac:spMkLst>
            <pc:docMk/>
            <pc:sldMk cId="1613743490" sldId="2146847672"/>
            <ac:spMk id="12" creationId="{0B52AE05-92C3-17AD-2279-8A4131D3CC69}"/>
          </ac:spMkLst>
        </pc:spChg>
        <pc:spChg chg="mod">
          <ac:chgData name="Siddhartha Paul" userId="0f6d2a28-7c6e-4106-a327-1058fe8b7c05" providerId="ADAL" clId="{C15EC1BA-EE25-4672-92A2-9249CEBF869C}" dt="2024-02-21T07:29:24.858" v="8050" actId="207"/>
          <ac:spMkLst>
            <pc:docMk/>
            <pc:sldMk cId="1613743490" sldId="2146847672"/>
            <ac:spMk id="13" creationId="{C4C2F276-C362-0976-73F7-F28CE551C8A5}"/>
          </ac:spMkLst>
        </pc:spChg>
        <pc:spChg chg="add mod">
          <ac:chgData name="Siddhartha Paul" userId="0f6d2a28-7c6e-4106-a327-1058fe8b7c05" providerId="ADAL" clId="{C15EC1BA-EE25-4672-92A2-9249CEBF869C}" dt="2024-02-22T05:40:44.705" v="10945"/>
          <ac:spMkLst>
            <pc:docMk/>
            <pc:sldMk cId="1613743490" sldId="2146847672"/>
            <ac:spMk id="14" creationId="{82D26705-ABB8-6AAC-DCCB-B5F7D72F34E7}"/>
          </ac:spMkLst>
        </pc:spChg>
        <pc:spChg chg="add mod">
          <ac:chgData name="Siddhartha Paul" userId="0f6d2a28-7c6e-4106-a327-1058fe8b7c05" providerId="ADAL" clId="{C15EC1BA-EE25-4672-92A2-9249CEBF869C}" dt="2024-02-22T05:40:44.705" v="10945"/>
          <ac:spMkLst>
            <pc:docMk/>
            <pc:sldMk cId="1613743490" sldId="2146847672"/>
            <ac:spMk id="15" creationId="{858B40B2-1BA6-560D-8795-FAA8938BC7E6}"/>
          </ac:spMkLst>
        </pc:spChg>
        <pc:spChg chg="add del mod">
          <ac:chgData name="Siddhartha Paul" userId="0f6d2a28-7c6e-4106-a327-1058fe8b7c05" providerId="ADAL" clId="{C15EC1BA-EE25-4672-92A2-9249CEBF869C}" dt="2024-02-22T06:56:16.262" v="11886" actId="478"/>
          <ac:spMkLst>
            <pc:docMk/>
            <pc:sldMk cId="1613743490" sldId="2146847672"/>
            <ac:spMk id="16" creationId="{313278C3-9FC3-C5BD-FED0-6CCFF74A93DD}"/>
          </ac:spMkLst>
        </pc:spChg>
        <pc:spChg chg="add del mod">
          <ac:chgData name="Siddhartha Paul" userId="0f6d2a28-7c6e-4106-a327-1058fe8b7c05" providerId="ADAL" clId="{C15EC1BA-EE25-4672-92A2-9249CEBF869C}" dt="2024-02-22T06:21:52.740" v="11528" actId="478"/>
          <ac:spMkLst>
            <pc:docMk/>
            <pc:sldMk cId="1613743490" sldId="2146847672"/>
            <ac:spMk id="17" creationId="{86BB0847-59B9-E8EA-F217-19CDF6B9D493}"/>
          </ac:spMkLst>
        </pc:spChg>
        <pc:spChg chg="add mod">
          <ac:chgData name="Siddhartha Paul" userId="0f6d2a28-7c6e-4106-a327-1058fe8b7c05" providerId="ADAL" clId="{C15EC1BA-EE25-4672-92A2-9249CEBF869C}" dt="2024-02-22T05:40:49.789" v="10947"/>
          <ac:spMkLst>
            <pc:docMk/>
            <pc:sldMk cId="1613743490" sldId="2146847672"/>
            <ac:spMk id="18" creationId="{3D1521DA-A025-40F5-570D-22D773E48F41}"/>
          </ac:spMkLst>
        </pc:spChg>
        <pc:spChg chg="add mod">
          <ac:chgData name="Siddhartha Paul" userId="0f6d2a28-7c6e-4106-a327-1058fe8b7c05" providerId="ADAL" clId="{C15EC1BA-EE25-4672-92A2-9249CEBF869C}" dt="2024-02-22T05:40:49.789" v="10947"/>
          <ac:spMkLst>
            <pc:docMk/>
            <pc:sldMk cId="1613743490" sldId="2146847672"/>
            <ac:spMk id="19" creationId="{833DDB84-29F4-8D8F-5802-E022C4253CD1}"/>
          </ac:spMkLst>
        </pc:spChg>
        <pc:spChg chg="add mod">
          <ac:chgData name="Siddhartha Paul" userId="0f6d2a28-7c6e-4106-a327-1058fe8b7c05" providerId="ADAL" clId="{C15EC1BA-EE25-4672-92A2-9249CEBF869C}" dt="2024-02-22T05:40:49.789" v="10947"/>
          <ac:spMkLst>
            <pc:docMk/>
            <pc:sldMk cId="1613743490" sldId="2146847672"/>
            <ac:spMk id="20" creationId="{8AA7DC39-8540-B155-791A-284B3375043B}"/>
          </ac:spMkLst>
        </pc:spChg>
        <pc:spChg chg="del">
          <ac:chgData name="Siddhartha Paul" userId="0f6d2a28-7c6e-4106-a327-1058fe8b7c05" providerId="ADAL" clId="{C15EC1BA-EE25-4672-92A2-9249CEBF869C}" dt="2024-02-21T07:28:48.736" v="8040" actId="478"/>
          <ac:spMkLst>
            <pc:docMk/>
            <pc:sldMk cId="1613743490" sldId="2146847672"/>
            <ac:spMk id="21" creationId="{5137D2D7-DE4A-6BB3-1ABC-85F7C8B05BFA}"/>
          </ac:spMkLst>
        </pc:spChg>
        <pc:spChg chg="del">
          <ac:chgData name="Siddhartha Paul" userId="0f6d2a28-7c6e-4106-a327-1058fe8b7c05" providerId="ADAL" clId="{C15EC1BA-EE25-4672-92A2-9249CEBF869C}" dt="2024-02-21T07:28:48.736" v="8040" actId="478"/>
          <ac:spMkLst>
            <pc:docMk/>
            <pc:sldMk cId="1613743490" sldId="2146847672"/>
            <ac:spMk id="22" creationId="{832A5408-1E20-0B75-B55B-4BD83D4F910E}"/>
          </ac:spMkLst>
        </pc:spChg>
        <pc:spChg chg="add mod">
          <ac:chgData name="Siddhartha Paul" userId="0f6d2a28-7c6e-4106-a327-1058fe8b7c05" providerId="ADAL" clId="{C15EC1BA-EE25-4672-92A2-9249CEBF869C}" dt="2024-02-22T05:40:49.789" v="10947"/>
          <ac:spMkLst>
            <pc:docMk/>
            <pc:sldMk cId="1613743490" sldId="2146847672"/>
            <ac:spMk id="24" creationId="{A5BE0A2D-B444-9AEB-92CA-E9EDDCF36859}"/>
          </ac:spMkLst>
        </pc:spChg>
        <pc:spChg chg="del">
          <ac:chgData name="Siddhartha Paul" userId="0f6d2a28-7c6e-4106-a327-1058fe8b7c05" providerId="ADAL" clId="{C15EC1BA-EE25-4672-92A2-9249CEBF869C}" dt="2024-02-21T07:28:48.736" v="8040" actId="478"/>
          <ac:spMkLst>
            <pc:docMk/>
            <pc:sldMk cId="1613743490" sldId="2146847672"/>
            <ac:spMk id="25" creationId="{6BBF5667-5F94-129F-1DF2-9131AB4F1DDA}"/>
          </ac:spMkLst>
        </pc:spChg>
        <pc:spChg chg="del">
          <ac:chgData name="Siddhartha Paul" userId="0f6d2a28-7c6e-4106-a327-1058fe8b7c05" providerId="ADAL" clId="{C15EC1BA-EE25-4672-92A2-9249CEBF869C}" dt="2024-02-21T07:28:48.736" v="8040" actId="478"/>
          <ac:spMkLst>
            <pc:docMk/>
            <pc:sldMk cId="1613743490" sldId="2146847672"/>
            <ac:spMk id="26" creationId="{330A626E-57B0-E54A-55F6-B44E6D563DE8}"/>
          </ac:spMkLst>
        </pc:spChg>
        <pc:spChg chg="del">
          <ac:chgData name="Siddhartha Paul" userId="0f6d2a28-7c6e-4106-a327-1058fe8b7c05" providerId="ADAL" clId="{C15EC1BA-EE25-4672-92A2-9249CEBF869C}" dt="2024-02-21T07:28:48.736" v="8040" actId="478"/>
          <ac:spMkLst>
            <pc:docMk/>
            <pc:sldMk cId="1613743490" sldId="2146847672"/>
            <ac:spMk id="27" creationId="{A481658F-3FCB-7C57-AED8-95FE61BFE1F9}"/>
          </ac:spMkLst>
        </pc:spChg>
        <pc:spChg chg="del">
          <ac:chgData name="Siddhartha Paul" userId="0f6d2a28-7c6e-4106-a327-1058fe8b7c05" providerId="ADAL" clId="{C15EC1BA-EE25-4672-92A2-9249CEBF869C}" dt="2024-02-21T07:28:48.736" v="8040" actId="478"/>
          <ac:spMkLst>
            <pc:docMk/>
            <pc:sldMk cId="1613743490" sldId="2146847672"/>
            <ac:spMk id="28" creationId="{750142D3-B33F-8DE5-5B92-D3C1D9DDB966}"/>
          </ac:spMkLst>
        </pc:spChg>
        <pc:spChg chg="del">
          <ac:chgData name="Siddhartha Paul" userId="0f6d2a28-7c6e-4106-a327-1058fe8b7c05" providerId="ADAL" clId="{C15EC1BA-EE25-4672-92A2-9249CEBF869C}" dt="2024-02-21T07:28:48.736" v="8040" actId="478"/>
          <ac:spMkLst>
            <pc:docMk/>
            <pc:sldMk cId="1613743490" sldId="2146847672"/>
            <ac:spMk id="29" creationId="{D86FFBC0-B211-6272-52E3-7BF7E249170F}"/>
          </ac:spMkLst>
        </pc:spChg>
        <pc:spChg chg="del">
          <ac:chgData name="Siddhartha Paul" userId="0f6d2a28-7c6e-4106-a327-1058fe8b7c05" providerId="ADAL" clId="{C15EC1BA-EE25-4672-92A2-9249CEBF869C}" dt="2024-02-21T07:28:48.736" v="8040" actId="478"/>
          <ac:spMkLst>
            <pc:docMk/>
            <pc:sldMk cId="1613743490" sldId="2146847672"/>
            <ac:spMk id="30" creationId="{5E2CF6EF-2FFF-93BC-FCB3-DE92A89A530F}"/>
          </ac:spMkLst>
        </pc:spChg>
        <pc:spChg chg="del">
          <ac:chgData name="Siddhartha Paul" userId="0f6d2a28-7c6e-4106-a327-1058fe8b7c05" providerId="ADAL" clId="{C15EC1BA-EE25-4672-92A2-9249CEBF869C}" dt="2024-02-21T07:28:48.736" v="8040" actId="478"/>
          <ac:spMkLst>
            <pc:docMk/>
            <pc:sldMk cId="1613743490" sldId="2146847672"/>
            <ac:spMk id="31" creationId="{A0EB121D-AFEB-DC76-C2E5-F19BB743C540}"/>
          </ac:spMkLst>
        </pc:spChg>
        <pc:spChg chg="del">
          <ac:chgData name="Siddhartha Paul" userId="0f6d2a28-7c6e-4106-a327-1058fe8b7c05" providerId="ADAL" clId="{C15EC1BA-EE25-4672-92A2-9249CEBF869C}" dt="2024-02-21T07:28:48.736" v="8040" actId="478"/>
          <ac:spMkLst>
            <pc:docMk/>
            <pc:sldMk cId="1613743490" sldId="2146847672"/>
            <ac:spMk id="32" creationId="{C1AC3055-0A4C-A567-14BD-5D0C41518D75}"/>
          </ac:spMkLst>
        </pc:spChg>
        <pc:spChg chg="del">
          <ac:chgData name="Siddhartha Paul" userId="0f6d2a28-7c6e-4106-a327-1058fe8b7c05" providerId="ADAL" clId="{C15EC1BA-EE25-4672-92A2-9249CEBF869C}" dt="2024-02-21T07:28:48.736" v="8040" actId="478"/>
          <ac:spMkLst>
            <pc:docMk/>
            <pc:sldMk cId="1613743490" sldId="2146847672"/>
            <ac:spMk id="33" creationId="{B34886AA-4B0D-D4B2-F329-FF1863B1316E}"/>
          </ac:spMkLst>
        </pc:spChg>
        <pc:spChg chg="del">
          <ac:chgData name="Siddhartha Paul" userId="0f6d2a28-7c6e-4106-a327-1058fe8b7c05" providerId="ADAL" clId="{C15EC1BA-EE25-4672-92A2-9249CEBF869C}" dt="2024-02-21T07:28:48.736" v="8040" actId="478"/>
          <ac:spMkLst>
            <pc:docMk/>
            <pc:sldMk cId="1613743490" sldId="2146847672"/>
            <ac:spMk id="34" creationId="{E00B1C0C-2373-8FF9-7F84-AA37F719F180}"/>
          </ac:spMkLst>
        </pc:spChg>
        <pc:spChg chg="del">
          <ac:chgData name="Siddhartha Paul" userId="0f6d2a28-7c6e-4106-a327-1058fe8b7c05" providerId="ADAL" clId="{C15EC1BA-EE25-4672-92A2-9249CEBF869C}" dt="2024-02-21T07:28:48.736" v="8040" actId="478"/>
          <ac:spMkLst>
            <pc:docMk/>
            <pc:sldMk cId="1613743490" sldId="2146847672"/>
            <ac:spMk id="35" creationId="{3017534A-D5D0-A113-F8CD-5EAAC3CD5123}"/>
          </ac:spMkLst>
        </pc:spChg>
        <pc:spChg chg="del">
          <ac:chgData name="Siddhartha Paul" userId="0f6d2a28-7c6e-4106-a327-1058fe8b7c05" providerId="ADAL" clId="{C15EC1BA-EE25-4672-92A2-9249CEBF869C}" dt="2024-02-21T07:28:48.736" v="8040" actId="478"/>
          <ac:spMkLst>
            <pc:docMk/>
            <pc:sldMk cId="1613743490" sldId="2146847672"/>
            <ac:spMk id="36" creationId="{1B928281-E61D-D8F3-4129-BD8CB313DFF2}"/>
          </ac:spMkLst>
        </pc:spChg>
        <pc:spChg chg="add mod">
          <ac:chgData name="Siddhartha Paul" userId="0f6d2a28-7c6e-4106-a327-1058fe8b7c05" providerId="ADAL" clId="{C15EC1BA-EE25-4672-92A2-9249CEBF869C}" dt="2024-02-22T05:40:54.462" v="10948" actId="1076"/>
          <ac:spMkLst>
            <pc:docMk/>
            <pc:sldMk cId="1613743490" sldId="2146847672"/>
            <ac:spMk id="37" creationId="{DC3D94D4-2FAB-18E0-744A-81926DEBC539}"/>
          </ac:spMkLst>
        </pc:spChg>
        <pc:spChg chg="add mod">
          <ac:chgData name="Siddhartha Paul" userId="0f6d2a28-7c6e-4106-a327-1058fe8b7c05" providerId="ADAL" clId="{C15EC1BA-EE25-4672-92A2-9249CEBF869C}" dt="2024-02-22T05:40:58.027" v="10949" actId="14100"/>
          <ac:spMkLst>
            <pc:docMk/>
            <pc:sldMk cId="1613743490" sldId="2146847672"/>
            <ac:spMk id="38" creationId="{FA52F214-07A2-3D9A-1F41-6A61DDCC105A}"/>
          </ac:spMkLst>
        </pc:spChg>
        <pc:spChg chg="add mod">
          <ac:chgData name="Siddhartha Paul" userId="0f6d2a28-7c6e-4106-a327-1058fe8b7c05" providerId="ADAL" clId="{C15EC1BA-EE25-4672-92A2-9249CEBF869C}" dt="2024-02-22T07:04:44.427" v="12173"/>
          <ac:spMkLst>
            <pc:docMk/>
            <pc:sldMk cId="1613743490" sldId="2146847672"/>
            <ac:spMk id="39" creationId="{21DA394F-C8A5-6661-18CC-55CD3F6759FD}"/>
          </ac:spMkLst>
        </pc:spChg>
        <pc:spChg chg="add mod">
          <ac:chgData name="Siddhartha Paul" userId="0f6d2a28-7c6e-4106-a327-1058fe8b7c05" providerId="ADAL" clId="{C15EC1BA-EE25-4672-92A2-9249CEBF869C}" dt="2024-02-22T06:56:16.630" v="11887"/>
          <ac:spMkLst>
            <pc:docMk/>
            <pc:sldMk cId="1613743490" sldId="2146847672"/>
            <ac:spMk id="40" creationId="{0F4BBA80-BE48-2E11-A07F-E3568245E157}"/>
          </ac:spMkLst>
        </pc:spChg>
        <pc:spChg chg="del">
          <ac:chgData name="Siddhartha Paul" userId="0f6d2a28-7c6e-4106-a327-1058fe8b7c05" providerId="ADAL" clId="{C15EC1BA-EE25-4672-92A2-9249CEBF869C}" dt="2024-02-22T04:32:29.723" v="10291" actId="478"/>
          <ac:spMkLst>
            <pc:docMk/>
            <pc:sldMk cId="1613743490" sldId="2146847672"/>
            <ac:spMk id="85" creationId="{1F6B9833-AB55-EB07-110B-883781FC10FD}"/>
          </ac:spMkLst>
        </pc:spChg>
        <pc:picChg chg="add mod">
          <ac:chgData name="Siddhartha Paul" userId="0f6d2a28-7c6e-4106-a327-1058fe8b7c05" providerId="ADAL" clId="{C15EC1BA-EE25-4672-92A2-9249CEBF869C}" dt="2024-02-21T07:29:13.977" v="8047" actId="1076"/>
          <ac:picMkLst>
            <pc:docMk/>
            <pc:sldMk cId="1613743490" sldId="2146847672"/>
            <ac:picMk id="2" creationId="{46BEE9D1-CFBE-0414-84A0-22E9BC6E2F30}"/>
          </ac:picMkLst>
        </pc:picChg>
        <pc:picChg chg="add mod">
          <ac:chgData name="Siddhartha Paul" userId="0f6d2a28-7c6e-4106-a327-1058fe8b7c05" providerId="ADAL" clId="{C15EC1BA-EE25-4672-92A2-9249CEBF869C}" dt="2024-02-21T07:29:16.173" v="8048" actId="1076"/>
          <ac:picMkLst>
            <pc:docMk/>
            <pc:sldMk cId="1613743490" sldId="2146847672"/>
            <ac:picMk id="3" creationId="{06E12005-CCE2-E481-063A-6010CD58F0C9}"/>
          </ac:picMkLst>
        </pc:picChg>
        <pc:picChg chg="del">
          <ac:chgData name="Siddhartha Paul" userId="0f6d2a28-7c6e-4106-a327-1058fe8b7c05" providerId="ADAL" clId="{C15EC1BA-EE25-4672-92A2-9249CEBF869C}" dt="2024-02-21T07:28:48.736" v="8040" actId="478"/>
          <ac:picMkLst>
            <pc:docMk/>
            <pc:sldMk cId="1613743490" sldId="2146847672"/>
            <ac:picMk id="23" creationId="{012285AE-2DDB-3692-079F-C2FFA4C3A9BE}"/>
          </ac:picMkLst>
        </pc:picChg>
      </pc:sldChg>
      <pc:sldChg chg="addSp delSp modSp add mod modAnim">
        <pc:chgData name="Siddhartha Paul" userId="0f6d2a28-7c6e-4106-a327-1058fe8b7c05" providerId="ADAL" clId="{C15EC1BA-EE25-4672-92A2-9249CEBF869C}" dt="2024-02-22T07:04:09.599" v="12165" actId="20577"/>
        <pc:sldMkLst>
          <pc:docMk/>
          <pc:sldMk cId="1815865108" sldId="2146847673"/>
        </pc:sldMkLst>
        <pc:spChg chg="add mod">
          <ac:chgData name="Siddhartha Paul" userId="0f6d2a28-7c6e-4106-a327-1058fe8b7c05" providerId="ADAL" clId="{C15EC1BA-EE25-4672-92A2-9249CEBF869C}" dt="2024-02-21T08:01:30.857" v="9068" actId="1076"/>
          <ac:spMkLst>
            <pc:docMk/>
            <pc:sldMk cId="1815865108" sldId="2146847673"/>
            <ac:spMk id="4" creationId="{3FE8D9B9-955A-6113-C245-58EB11C8FCB8}"/>
          </ac:spMkLst>
        </pc:spChg>
        <pc:spChg chg="add mod">
          <ac:chgData name="Siddhartha Paul" userId="0f6d2a28-7c6e-4106-a327-1058fe8b7c05" providerId="ADAL" clId="{C15EC1BA-EE25-4672-92A2-9249CEBF869C}" dt="2024-02-21T08:01:30.857" v="9068" actId="1076"/>
          <ac:spMkLst>
            <pc:docMk/>
            <pc:sldMk cId="1815865108" sldId="2146847673"/>
            <ac:spMk id="5" creationId="{2EEFADB0-F7AB-9CA6-E903-11F51C18EB28}"/>
          </ac:spMkLst>
        </pc:spChg>
        <pc:spChg chg="mod">
          <ac:chgData name="Siddhartha Paul" userId="0f6d2a28-7c6e-4106-a327-1058fe8b7c05" providerId="ADAL" clId="{C15EC1BA-EE25-4672-92A2-9249CEBF869C}" dt="2024-02-21T07:49:30.320" v="8545" actId="108"/>
          <ac:spMkLst>
            <pc:docMk/>
            <pc:sldMk cId="1815865108" sldId="2146847673"/>
            <ac:spMk id="7" creationId="{238D0DE0-522F-29B0-8202-964439F707B1}"/>
          </ac:spMkLst>
        </pc:spChg>
        <pc:spChg chg="add mod">
          <ac:chgData name="Siddhartha Paul" userId="0f6d2a28-7c6e-4106-a327-1058fe8b7c05" providerId="ADAL" clId="{C15EC1BA-EE25-4672-92A2-9249CEBF869C}" dt="2024-02-21T08:04:36.631" v="9203" actId="20577"/>
          <ac:spMkLst>
            <pc:docMk/>
            <pc:sldMk cId="1815865108" sldId="2146847673"/>
            <ac:spMk id="8" creationId="{D11B275B-2969-F746-6B0A-FC2CA4567ED5}"/>
          </ac:spMkLst>
        </pc:spChg>
        <pc:spChg chg="add del mod">
          <ac:chgData name="Siddhartha Paul" userId="0f6d2a28-7c6e-4106-a327-1058fe8b7c05" providerId="ADAL" clId="{C15EC1BA-EE25-4672-92A2-9249CEBF869C}" dt="2024-02-21T07:54:35.301" v="8618" actId="478"/>
          <ac:spMkLst>
            <pc:docMk/>
            <pc:sldMk cId="1815865108" sldId="2146847673"/>
            <ac:spMk id="9" creationId="{2A070F66-8B50-1813-6794-AC37ED0772AC}"/>
          </ac:spMkLst>
        </pc:spChg>
        <pc:spChg chg="add del mod">
          <ac:chgData name="Siddhartha Paul" userId="0f6d2a28-7c6e-4106-a327-1058fe8b7c05" providerId="ADAL" clId="{C15EC1BA-EE25-4672-92A2-9249CEBF869C}" dt="2024-02-21T07:56:18.623" v="8680" actId="478"/>
          <ac:spMkLst>
            <pc:docMk/>
            <pc:sldMk cId="1815865108" sldId="2146847673"/>
            <ac:spMk id="10" creationId="{E11B785D-1272-D260-62A3-C954963851A1}"/>
          </ac:spMkLst>
        </pc:spChg>
        <pc:spChg chg="add mod">
          <ac:chgData name="Siddhartha Paul" userId="0f6d2a28-7c6e-4106-a327-1058fe8b7c05" providerId="ADAL" clId="{C15EC1BA-EE25-4672-92A2-9249CEBF869C}" dt="2024-02-21T08:01:30.857" v="9068" actId="1076"/>
          <ac:spMkLst>
            <pc:docMk/>
            <pc:sldMk cId="1815865108" sldId="2146847673"/>
            <ac:spMk id="11" creationId="{20466316-95E0-F8F8-C0C9-F7116D0BFC86}"/>
          </ac:spMkLst>
        </pc:spChg>
        <pc:spChg chg="del">
          <ac:chgData name="Siddhartha Paul" userId="0f6d2a28-7c6e-4106-a327-1058fe8b7c05" providerId="ADAL" clId="{C15EC1BA-EE25-4672-92A2-9249CEBF869C}" dt="2024-02-21T07:47:00.600" v="8410" actId="478"/>
          <ac:spMkLst>
            <pc:docMk/>
            <pc:sldMk cId="1815865108" sldId="2146847673"/>
            <ac:spMk id="12" creationId="{0B52AE05-92C3-17AD-2279-8A4131D3CC69}"/>
          </ac:spMkLst>
        </pc:spChg>
        <pc:spChg chg="del">
          <ac:chgData name="Siddhartha Paul" userId="0f6d2a28-7c6e-4106-a327-1058fe8b7c05" providerId="ADAL" clId="{C15EC1BA-EE25-4672-92A2-9249CEBF869C}" dt="2024-02-21T07:47:00.600" v="8410" actId="478"/>
          <ac:spMkLst>
            <pc:docMk/>
            <pc:sldMk cId="1815865108" sldId="2146847673"/>
            <ac:spMk id="13" creationId="{C4C2F276-C362-0976-73F7-F28CE551C8A5}"/>
          </ac:spMkLst>
        </pc:spChg>
        <pc:spChg chg="add mod">
          <ac:chgData name="Siddhartha Paul" userId="0f6d2a28-7c6e-4106-a327-1058fe8b7c05" providerId="ADAL" clId="{C15EC1BA-EE25-4672-92A2-9249CEBF869C}" dt="2024-02-21T08:04:49.257" v="9211" actId="1036"/>
          <ac:spMkLst>
            <pc:docMk/>
            <pc:sldMk cId="1815865108" sldId="2146847673"/>
            <ac:spMk id="14" creationId="{8E6266DD-3106-4F1F-B503-1E69C6BC9F76}"/>
          </ac:spMkLst>
        </pc:spChg>
        <pc:spChg chg="add mod">
          <ac:chgData name="Siddhartha Paul" userId="0f6d2a28-7c6e-4106-a327-1058fe8b7c05" providerId="ADAL" clId="{C15EC1BA-EE25-4672-92A2-9249CEBF869C}" dt="2024-02-21T07:57:42.386" v="8730"/>
          <ac:spMkLst>
            <pc:docMk/>
            <pc:sldMk cId="1815865108" sldId="2146847673"/>
            <ac:spMk id="15" creationId="{89858812-01E2-DFB8-B5AA-A6B72C49B0B2}"/>
          </ac:spMkLst>
        </pc:spChg>
        <pc:spChg chg="add mod">
          <ac:chgData name="Siddhartha Paul" userId="0f6d2a28-7c6e-4106-a327-1058fe8b7c05" providerId="ADAL" clId="{C15EC1BA-EE25-4672-92A2-9249CEBF869C}" dt="2024-02-21T08:04:49.257" v="9211" actId="1036"/>
          <ac:spMkLst>
            <pc:docMk/>
            <pc:sldMk cId="1815865108" sldId="2146847673"/>
            <ac:spMk id="16" creationId="{89F973C9-310D-4206-0B4F-AEC3EF19A4E3}"/>
          </ac:spMkLst>
        </pc:spChg>
        <pc:spChg chg="add mod">
          <ac:chgData name="Siddhartha Paul" userId="0f6d2a28-7c6e-4106-a327-1058fe8b7c05" providerId="ADAL" clId="{C15EC1BA-EE25-4672-92A2-9249CEBF869C}" dt="2024-02-21T08:04:49.257" v="9211" actId="1036"/>
          <ac:spMkLst>
            <pc:docMk/>
            <pc:sldMk cId="1815865108" sldId="2146847673"/>
            <ac:spMk id="19" creationId="{3094BD27-6FB6-5BA1-1259-E933C0DFFEF2}"/>
          </ac:spMkLst>
        </pc:spChg>
        <pc:spChg chg="add mod">
          <ac:chgData name="Siddhartha Paul" userId="0f6d2a28-7c6e-4106-a327-1058fe8b7c05" providerId="ADAL" clId="{C15EC1BA-EE25-4672-92A2-9249CEBF869C}" dt="2024-02-21T08:04:49.257" v="9211" actId="1036"/>
          <ac:spMkLst>
            <pc:docMk/>
            <pc:sldMk cId="1815865108" sldId="2146847673"/>
            <ac:spMk id="21" creationId="{619BEAD4-CBCA-5627-72B9-42D2BAEAB373}"/>
          </ac:spMkLst>
        </pc:spChg>
        <pc:spChg chg="add del mod">
          <ac:chgData name="Siddhartha Paul" userId="0f6d2a28-7c6e-4106-a327-1058fe8b7c05" providerId="ADAL" clId="{C15EC1BA-EE25-4672-92A2-9249CEBF869C}" dt="2024-02-21T08:03:39.008" v="9198" actId="11529"/>
          <ac:spMkLst>
            <pc:docMk/>
            <pc:sldMk cId="1815865108" sldId="2146847673"/>
            <ac:spMk id="22" creationId="{2C564D5F-358F-D7D0-1C81-9513BB8CFA47}"/>
          </ac:spMkLst>
        </pc:spChg>
        <pc:spChg chg="add mod">
          <ac:chgData name="Siddhartha Paul" userId="0f6d2a28-7c6e-4106-a327-1058fe8b7c05" providerId="ADAL" clId="{C15EC1BA-EE25-4672-92A2-9249CEBF869C}" dt="2024-02-21T08:03:35.612" v="9191" actId="1076"/>
          <ac:spMkLst>
            <pc:docMk/>
            <pc:sldMk cId="1815865108" sldId="2146847673"/>
            <ac:spMk id="23" creationId="{67FABC68-A927-D59D-B591-83B73BD7331B}"/>
          </ac:spMkLst>
        </pc:spChg>
        <pc:spChg chg="add mod">
          <ac:chgData name="Siddhartha Paul" userId="0f6d2a28-7c6e-4106-a327-1058fe8b7c05" providerId="ADAL" clId="{C15EC1BA-EE25-4672-92A2-9249CEBF869C}" dt="2024-02-22T06:55:43.108" v="11873" actId="20577"/>
          <ac:spMkLst>
            <pc:docMk/>
            <pc:sldMk cId="1815865108" sldId="2146847673"/>
            <ac:spMk id="24" creationId="{58A08633-A178-97B1-1632-D695409FBA71}"/>
          </ac:spMkLst>
        </pc:spChg>
        <pc:spChg chg="add mod">
          <ac:chgData name="Siddhartha Paul" userId="0f6d2a28-7c6e-4106-a327-1058fe8b7c05" providerId="ADAL" clId="{C15EC1BA-EE25-4672-92A2-9249CEBF869C}" dt="2024-02-22T07:04:09.599" v="12165" actId="20577"/>
          <ac:spMkLst>
            <pc:docMk/>
            <pc:sldMk cId="1815865108" sldId="2146847673"/>
            <ac:spMk id="25" creationId="{AE45BE5E-B76E-12D8-1E2E-D368E95B672F}"/>
          </ac:spMkLst>
        </pc:spChg>
        <pc:spChg chg="add mod">
          <ac:chgData name="Siddhartha Paul" userId="0f6d2a28-7c6e-4106-a327-1058fe8b7c05" providerId="ADAL" clId="{C15EC1BA-EE25-4672-92A2-9249CEBF869C}" dt="2024-02-22T05:41:02.758" v="10950"/>
          <ac:spMkLst>
            <pc:docMk/>
            <pc:sldMk cId="1815865108" sldId="2146847673"/>
            <ac:spMk id="26" creationId="{EF0B122D-BEA5-47F7-6582-6D0B864E6F07}"/>
          </ac:spMkLst>
        </pc:spChg>
        <pc:spChg chg="add mod">
          <ac:chgData name="Siddhartha Paul" userId="0f6d2a28-7c6e-4106-a327-1058fe8b7c05" providerId="ADAL" clId="{C15EC1BA-EE25-4672-92A2-9249CEBF869C}" dt="2024-02-22T05:41:08.040" v="10951" actId="207"/>
          <ac:spMkLst>
            <pc:docMk/>
            <pc:sldMk cId="1815865108" sldId="2146847673"/>
            <ac:spMk id="27" creationId="{D58F443B-1CAE-E2E3-A005-35C270760B3E}"/>
          </ac:spMkLst>
        </pc:spChg>
        <pc:spChg chg="add mod">
          <ac:chgData name="Siddhartha Paul" userId="0f6d2a28-7c6e-4106-a327-1058fe8b7c05" providerId="ADAL" clId="{C15EC1BA-EE25-4672-92A2-9249CEBF869C}" dt="2024-02-22T06:20:11.251" v="11489" actId="207"/>
          <ac:spMkLst>
            <pc:docMk/>
            <pc:sldMk cId="1815865108" sldId="2146847673"/>
            <ac:spMk id="28" creationId="{534289CA-8101-37C5-4486-E446B2FEB1BE}"/>
          </ac:spMkLst>
        </pc:spChg>
        <pc:spChg chg="add mod">
          <ac:chgData name="Siddhartha Paul" userId="0f6d2a28-7c6e-4106-a327-1058fe8b7c05" providerId="ADAL" clId="{C15EC1BA-EE25-4672-92A2-9249CEBF869C}" dt="2024-02-22T05:41:02.758" v="10950"/>
          <ac:spMkLst>
            <pc:docMk/>
            <pc:sldMk cId="1815865108" sldId="2146847673"/>
            <ac:spMk id="29" creationId="{89728739-4896-9E9E-E0C9-B435DE28B8BF}"/>
          </ac:spMkLst>
        </pc:spChg>
        <pc:spChg chg="del">
          <ac:chgData name="Siddhartha Paul" userId="0f6d2a28-7c6e-4106-a327-1058fe8b7c05" providerId="ADAL" clId="{C15EC1BA-EE25-4672-92A2-9249CEBF869C}" dt="2024-02-22T04:32:33.419" v="10292" actId="478"/>
          <ac:spMkLst>
            <pc:docMk/>
            <pc:sldMk cId="1815865108" sldId="2146847673"/>
            <ac:spMk id="85" creationId="{1F6B9833-AB55-EB07-110B-883781FC10FD}"/>
          </ac:spMkLst>
        </pc:spChg>
        <pc:picChg chg="del">
          <ac:chgData name="Siddhartha Paul" userId="0f6d2a28-7c6e-4106-a327-1058fe8b7c05" providerId="ADAL" clId="{C15EC1BA-EE25-4672-92A2-9249CEBF869C}" dt="2024-02-21T07:47:00.600" v="8410" actId="478"/>
          <ac:picMkLst>
            <pc:docMk/>
            <pc:sldMk cId="1815865108" sldId="2146847673"/>
            <ac:picMk id="2" creationId="{46BEE9D1-CFBE-0414-84A0-22E9BC6E2F30}"/>
          </ac:picMkLst>
        </pc:picChg>
        <pc:picChg chg="del">
          <ac:chgData name="Siddhartha Paul" userId="0f6d2a28-7c6e-4106-a327-1058fe8b7c05" providerId="ADAL" clId="{C15EC1BA-EE25-4672-92A2-9249CEBF869C}" dt="2024-02-21T07:47:00.600" v="8410" actId="478"/>
          <ac:picMkLst>
            <pc:docMk/>
            <pc:sldMk cId="1815865108" sldId="2146847673"/>
            <ac:picMk id="3" creationId="{06E12005-CCE2-E481-063A-6010CD58F0C9}"/>
          </ac:picMkLst>
        </pc:picChg>
        <pc:cxnChg chg="add del mod">
          <ac:chgData name="Siddhartha Paul" userId="0f6d2a28-7c6e-4106-a327-1058fe8b7c05" providerId="ADAL" clId="{C15EC1BA-EE25-4672-92A2-9249CEBF869C}" dt="2024-02-21T08:04:49.257" v="9211" actId="1036"/>
          <ac:cxnSpMkLst>
            <pc:docMk/>
            <pc:sldMk cId="1815865108" sldId="2146847673"/>
            <ac:cxnSpMk id="18" creationId="{8C5BB716-D4EF-2D11-75FC-A6295401C5C0}"/>
          </ac:cxnSpMkLst>
        </pc:cxnChg>
        <pc:cxnChg chg="add del mod">
          <ac:chgData name="Siddhartha Paul" userId="0f6d2a28-7c6e-4106-a327-1058fe8b7c05" providerId="ADAL" clId="{C15EC1BA-EE25-4672-92A2-9249CEBF869C}" dt="2024-02-21T08:04:49.257" v="9211" actId="1036"/>
          <ac:cxnSpMkLst>
            <pc:docMk/>
            <pc:sldMk cId="1815865108" sldId="2146847673"/>
            <ac:cxnSpMk id="20" creationId="{91E00C20-33A0-A16D-C725-BED33D95C930}"/>
          </ac:cxnSpMkLst>
        </pc:cxnChg>
      </pc:sldChg>
      <pc:sldChg chg="add">
        <pc:chgData name="Siddhartha Paul" userId="0f6d2a28-7c6e-4106-a327-1058fe8b7c05" providerId="ADAL" clId="{C15EC1BA-EE25-4672-92A2-9249CEBF869C}" dt="2024-02-21T10:39:42.377" v="9647" actId="2890"/>
        <pc:sldMkLst>
          <pc:docMk/>
          <pc:sldMk cId="3123059831" sldId="2146847674"/>
        </pc:sldMkLst>
      </pc:sldChg>
      <pc:sldChg chg="add ord">
        <pc:chgData name="Siddhartha Paul" userId="0f6d2a28-7c6e-4106-a327-1058fe8b7c05" providerId="ADAL" clId="{C15EC1BA-EE25-4672-92A2-9249CEBF869C}" dt="2024-02-22T06:50:31.884" v="11753"/>
        <pc:sldMkLst>
          <pc:docMk/>
          <pc:sldMk cId="3186727278" sldId="2146847674"/>
        </pc:sldMkLst>
      </pc:sldChg>
      <pc:sldChg chg="addSp delSp modSp add mod">
        <pc:chgData name="Siddhartha Paul" userId="0f6d2a28-7c6e-4106-a327-1058fe8b7c05" providerId="ADAL" clId="{C15EC1BA-EE25-4672-92A2-9249CEBF869C}" dt="2024-02-22T07:47:21.986" v="12340" actId="1076"/>
        <pc:sldMkLst>
          <pc:docMk/>
          <pc:sldMk cId="1925309992" sldId="2146847675"/>
        </pc:sldMkLst>
        <pc:spChg chg="del">
          <ac:chgData name="Siddhartha Paul" userId="0f6d2a28-7c6e-4106-a327-1058fe8b7c05" providerId="ADAL" clId="{C15EC1BA-EE25-4672-92A2-9249CEBF869C}" dt="2024-02-22T06:43:23.895" v="11538" actId="478"/>
          <ac:spMkLst>
            <pc:docMk/>
            <pc:sldMk cId="1925309992" sldId="2146847675"/>
            <ac:spMk id="2" creationId="{1C9B89CA-B47B-D625-9FFC-230FF630237A}"/>
          </ac:spMkLst>
        </pc:spChg>
        <pc:spChg chg="del">
          <ac:chgData name="Siddhartha Paul" userId="0f6d2a28-7c6e-4106-a327-1058fe8b7c05" providerId="ADAL" clId="{C15EC1BA-EE25-4672-92A2-9249CEBF869C}" dt="2024-02-22T06:43:23.895" v="11538" actId="478"/>
          <ac:spMkLst>
            <pc:docMk/>
            <pc:sldMk cId="1925309992" sldId="2146847675"/>
            <ac:spMk id="4" creationId="{8D591670-E1FE-8F54-13FB-DE00652BFA70}"/>
          </ac:spMkLst>
        </pc:spChg>
        <pc:spChg chg="add mod topLvl">
          <ac:chgData name="Siddhartha Paul" userId="0f6d2a28-7c6e-4106-a327-1058fe8b7c05" providerId="ADAL" clId="{C15EC1BA-EE25-4672-92A2-9249CEBF869C}" dt="2024-02-22T06:44:10.423" v="11547" actId="164"/>
          <ac:spMkLst>
            <pc:docMk/>
            <pc:sldMk cId="1925309992" sldId="2146847675"/>
            <ac:spMk id="5" creationId="{14C18D09-A524-F2E5-91C0-BC914A606DCD}"/>
          </ac:spMkLst>
        </pc:spChg>
        <pc:spChg chg="add mod topLvl">
          <ac:chgData name="Siddhartha Paul" userId="0f6d2a28-7c6e-4106-a327-1058fe8b7c05" providerId="ADAL" clId="{C15EC1BA-EE25-4672-92A2-9249CEBF869C}" dt="2024-02-22T06:44:22.007" v="11550" actId="164"/>
          <ac:spMkLst>
            <pc:docMk/>
            <pc:sldMk cId="1925309992" sldId="2146847675"/>
            <ac:spMk id="6" creationId="{26DF8259-63DD-C78B-5800-D9B0562F9505}"/>
          </ac:spMkLst>
        </pc:spChg>
        <pc:spChg chg="del">
          <ac:chgData name="Siddhartha Paul" userId="0f6d2a28-7c6e-4106-a327-1058fe8b7c05" providerId="ADAL" clId="{C15EC1BA-EE25-4672-92A2-9249CEBF869C}" dt="2024-02-22T06:43:23.895" v="11538" actId="478"/>
          <ac:spMkLst>
            <pc:docMk/>
            <pc:sldMk cId="1925309992" sldId="2146847675"/>
            <ac:spMk id="8" creationId="{961107B2-CF2E-C1A1-2096-342221CA9015}"/>
          </ac:spMkLst>
        </pc:spChg>
        <pc:spChg chg="add mod">
          <ac:chgData name="Siddhartha Paul" userId="0f6d2a28-7c6e-4106-a327-1058fe8b7c05" providerId="ADAL" clId="{C15EC1BA-EE25-4672-92A2-9249CEBF869C}" dt="2024-02-22T06:43:45.098" v="11542" actId="165"/>
          <ac:spMkLst>
            <pc:docMk/>
            <pc:sldMk cId="1925309992" sldId="2146847675"/>
            <ac:spMk id="10" creationId="{AC53F48D-D1D6-1CE2-8271-D45C1FC385A8}"/>
          </ac:spMkLst>
        </pc:spChg>
        <pc:spChg chg="add mod">
          <ac:chgData name="Siddhartha Paul" userId="0f6d2a28-7c6e-4106-a327-1058fe8b7c05" providerId="ADAL" clId="{C15EC1BA-EE25-4672-92A2-9249CEBF869C}" dt="2024-02-22T06:43:45.098" v="11542" actId="165"/>
          <ac:spMkLst>
            <pc:docMk/>
            <pc:sldMk cId="1925309992" sldId="2146847675"/>
            <ac:spMk id="11" creationId="{826BB2C7-A32B-39D6-1927-F21E99088703}"/>
          </ac:spMkLst>
        </pc:spChg>
        <pc:spChg chg="add mod">
          <ac:chgData name="Siddhartha Paul" userId="0f6d2a28-7c6e-4106-a327-1058fe8b7c05" providerId="ADAL" clId="{C15EC1BA-EE25-4672-92A2-9249CEBF869C}" dt="2024-02-22T06:43:45.098" v="11542" actId="165"/>
          <ac:spMkLst>
            <pc:docMk/>
            <pc:sldMk cId="1925309992" sldId="2146847675"/>
            <ac:spMk id="12" creationId="{EAF18EDC-1F22-85BB-C2A4-50799C713160}"/>
          </ac:spMkLst>
        </pc:spChg>
        <pc:spChg chg="add mod">
          <ac:chgData name="Siddhartha Paul" userId="0f6d2a28-7c6e-4106-a327-1058fe8b7c05" providerId="ADAL" clId="{C15EC1BA-EE25-4672-92A2-9249CEBF869C}" dt="2024-02-22T06:43:45.098" v="11542" actId="165"/>
          <ac:spMkLst>
            <pc:docMk/>
            <pc:sldMk cId="1925309992" sldId="2146847675"/>
            <ac:spMk id="13" creationId="{8A259F1E-61D3-BF01-F574-6E438356C67A}"/>
          </ac:spMkLst>
        </pc:spChg>
        <pc:spChg chg="add mod">
          <ac:chgData name="Siddhartha Paul" userId="0f6d2a28-7c6e-4106-a327-1058fe8b7c05" providerId="ADAL" clId="{C15EC1BA-EE25-4672-92A2-9249CEBF869C}" dt="2024-02-22T06:43:45.098" v="11542" actId="165"/>
          <ac:spMkLst>
            <pc:docMk/>
            <pc:sldMk cId="1925309992" sldId="2146847675"/>
            <ac:spMk id="14" creationId="{3855FA08-A8F5-4FEF-A441-F826E577BF11}"/>
          </ac:spMkLst>
        </pc:spChg>
        <pc:spChg chg="add mod">
          <ac:chgData name="Siddhartha Paul" userId="0f6d2a28-7c6e-4106-a327-1058fe8b7c05" providerId="ADAL" clId="{C15EC1BA-EE25-4672-92A2-9249CEBF869C}" dt="2024-02-22T06:43:45.098" v="11542" actId="165"/>
          <ac:spMkLst>
            <pc:docMk/>
            <pc:sldMk cId="1925309992" sldId="2146847675"/>
            <ac:spMk id="15" creationId="{C5BEBD11-BFDC-4F3B-647D-52548D0CEC4A}"/>
          </ac:spMkLst>
        </pc:spChg>
        <pc:spChg chg="add del mod">
          <ac:chgData name="Siddhartha Paul" userId="0f6d2a28-7c6e-4106-a327-1058fe8b7c05" providerId="ADAL" clId="{C15EC1BA-EE25-4672-92A2-9249CEBF869C}" dt="2024-02-22T06:43:35.766" v="11541" actId="478"/>
          <ac:spMkLst>
            <pc:docMk/>
            <pc:sldMk cId="1925309992" sldId="2146847675"/>
            <ac:spMk id="16" creationId="{94DEB631-3BBE-808F-32F1-88ABDD5D1341}"/>
          </ac:spMkLst>
        </pc:spChg>
        <pc:spChg chg="add del mod">
          <ac:chgData name="Siddhartha Paul" userId="0f6d2a28-7c6e-4106-a327-1058fe8b7c05" providerId="ADAL" clId="{C15EC1BA-EE25-4672-92A2-9249CEBF869C}" dt="2024-02-22T06:43:30.134" v="11540" actId="478"/>
          <ac:spMkLst>
            <pc:docMk/>
            <pc:sldMk cId="1925309992" sldId="2146847675"/>
            <ac:spMk id="18" creationId="{A658C404-603C-86BC-F5D1-CDD02AC1B53F}"/>
          </ac:spMkLst>
        </pc:spChg>
        <pc:spChg chg="add del mod">
          <ac:chgData name="Siddhartha Paul" userId="0f6d2a28-7c6e-4106-a327-1058fe8b7c05" providerId="ADAL" clId="{C15EC1BA-EE25-4672-92A2-9249CEBF869C}" dt="2024-02-22T06:43:35.766" v="11541" actId="478"/>
          <ac:spMkLst>
            <pc:docMk/>
            <pc:sldMk cId="1925309992" sldId="2146847675"/>
            <ac:spMk id="19" creationId="{3C380D25-C970-5C03-AFDA-63A6AB159D31}"/>
          </ac:spMkLst>
        </pc:spChg>
        <pc:spChg chg="add mod">
          <ac:chgData name="Siddhartha Paul" userId="0f6d2a28-7c6e-4106-a327-1058fe8b7c05" providerId="ADAL" clId="{C15EC1BA-EE25-4672-92A2-9249CEBF869C}" dt="2024-02-22T06:43:45.098" v="11542" actId="165"/>
          <ac:spMkLst>
            <pc:docMk/>
            <pc:sldMk cId="1925309992" sldId="2146847675"/>
            <ac:spMk id="20" creationId="{A5FA9143-41E6-BB67-F191-EEE18771A207}"/>
          </ac:spMkLst>
        </pc:spChg>
        <pc:spChg chg="add mod">
          <ac:chgData name="Siddhartha Paul" userId="0f6d2a28-7c6e-4106-a327-1058fe8b7c05" providerId="ADAL" clId="{C15EC1BA-EE25-4672-92A2-9249CEBF869C}" dt="2024-02-22T06:43:45.098" v="11542" actId="165"/>
          <ac:spMkLst>
            <pc:docMk/>
            <pc:sldMk cId="1925309992" sldId="2146847675"/>
            <ac:spMk id="21" creationId="{409F0554-1CDE-C858-2D65-11EAF5093C2D}"/>
          </ac:spMkLst>
        </pc:spChg>
        <pc:spChg chg="add mod">
          <ac:chgData name="Siddhartha Paul" userId="0f6d2a28-7c6e-4106-a327-1058fe8b7c05" providerId="ADAL" clId="{C15EC1BA-EE25-4672-92A2-9249CEBF869C}" dt="2024-02-22T06:52:38.089" v="11855" actId="1035"/>
          <ac:spMkLst>
            <pc:docMk/>
            <pc:sldMk cId="1925309992" sldId="2146847675"/>
            <ac:spMk id="23" creationId="{A7270876-B569-9757-200A-5FA0E3E3C5F1}"/>
          </ac:spMkLst>
        </pc:spChg>
        <pc:spChg chg="add mod">
          <ac:chgData name="Siddhartha Paul" userId="0f6d2a28-7c6e-4106-a327-1058fe8b7c05" providerId="ADAL" clId="{C15EC1BA-EE25-4672-92A2-9249CEBF869C}" dt="2024-02-22T06:51:32.239" v="11848" actId="1035"/>
          <ac:spMkLst>
            <pc:docMk/>
            <pc:sldMk cId="1925309992" sldId="2146847675"/>
            <ac:spMk id="24" creationId="{DAF1B486-B9CF-CF0C-A90C-CBDC3015876C}"/>
          </ac:spMkLst>
        </pc:spChg>
        <pc:spChg chg="add del mod">
          <ac:chgData name="Siddhartha Paul" userId="0f6d2a28-7c6e-4106-a327-1058fe8b7c05" providerId="ADAL" clId="{C15EC1BA-EE25-4672-92A2-9249CEBF869C}" dt="2024-02-22T06:45:46.989" v="11572" actId="478"/>
          <ac:spMkLst>
            <pc:docMk/>
            <pc:sldMk cId="1925309992" sldId="2146847675"/>
            <ac:spMk id="25" creationId="{8C3F602D-FC7E-F966-D3C3-C9351D8E4318}"/>
          </ac:spMkLst>
        </pc:spChg>
        <pc:spChg chg="add del mod">
          <ac:chgData name="Siddhartha Paul" userId="0f6d2a28-7c6e-4106-a327-1058fe8b7c05" providerId="ADAL" clId="{C15EC1BA-EE25-4672-92A2-9249CEBF869C}" dt="2024-02-22T06:43:35.766" v="11541" actId="478"/>
          <ac:spMkLst>
            <pc:docMk/>
            <pc:sldMk cId="1925309992" sldId="2146847675"/>
            <ac:spMk id="26" creationId="{D94826F6-986E-99D0-7374-4B420F604CC3}"/>
          </ac:spMkLst>
        </pc:spChg>
        <pc:spChg chg="add del mod">
          <ac:chgData name="Siddhartha Paul" userId="0f6d2a28-7c6e-4106-a327-1058fe8b7c05" providerId="ADAL" clId="{C15EC1BA-EE25-4672-92A2-9249CEBF869C}" dt="2024-02-22T06:43:30.134" v="11540" actId="478"/>
          <ac:spMkLst>
            <pc:docMk/>
            <pc:sldMk cId="1925309992" sldId="2146847675"/>
            <ac:spMk id="28" creationId="{2FF0A0E8-B37F-6673-013B-9165F94B3742}"/>
          </ac:spMkLst>
        </pc:spChg>
        <pc:spChg chg="add del mod">
          <ac:chgData name="Siddhartha Paul" userId="0f6d2a28-7c6e-4106-a327-1058fe8b7c05" providerId="ADAL" clId="{C15EC1BA-EE25-4672-92A2-9249CEBF869C}" dt="2024-02-22T06:44:44.416" v="11555" actId="478"/>
          <ac:spMkLst>
            <pc:docMk/>
            <pc:sldMk cId="1925309992" sldId="2146847675"/>
            <ac:spMk id="29" creationId="{FF9D9F92-BE76-4166-0E23-BCB860D54FFF}"/>
          </ac:spMkLst>
        </pc:spChg>
        <pc:spChg chg="add del mod">
          <ac:chgData name="Siddhartha Paul" userId="0f6d2a28-7c6e-4106-a327-1058fe8b7c05" providerId="ADAL" clId="{C15EC1BA-EE25-4672-92A2-9249CEBF869C}" dt="2024-02-22T06:44:41.467" v="11554" actId="478"/>
          <ac:spMkLst>
            <pc:docMk/>
            <pc:sldMk cId="1925309992" sldId="2146847675"/>
            <ac:spMk id="30" creationId="{952FD52C-04BC-88EB-C71F-231ABDEEE547}"/>
          </ac:spMkLst>
        </pc:spChg>
        <pc:spChg chg="add del mod">
          <ac:chgData name="Siddhartha Paul" userId="0f6d2a28-7c6e-4106-a327-1058fe8b7c05" providerId="ADAL" clId="{C15EC1BA-EE25-4672-92A2-9249CEBF869C}" dt="2024-02-22T06:44:38.581" v="11553" actId="478"/>
          <ac:spMkLst>
            <pc:docMk/>
            <pc:sldMk cId="1925309992" sldId="2146847675"/>
            <ac:spMk id="31" creationId="{A64FB8CE-347D-55FD-F79F-6B5604ADB441}"/>
          </ac:spMkLst>
        </pc:spChg>
        <pc:spChg chg="add del mod">
          <ac:chgData name="Siddhartha Paul" userId="0f6d2a28-7c6e-4106-a327-1058fe8b7c05" providerId="ADAL" clId="{C15EC1BA-EE25-4672-92A2-9249CEBF869C}" dt="2024-02-22T06:43:35.766" v="11541" actId="478"/>
          <ac:spMkLst>
            <pc:docMk/>
            <pc:sldMk cId="1925309992" sldId="2146847675"/>
            <ac:spMk id="32" creationId="{BDAA7536-075F-0579-2173-A8EA8A2B8087}"/>
          </ac:spMkLst>
        </pc:spChg>
        <pc:spChg chg="add del mod">
          <ac:chgData name="Siddhartha Paul" userId="0f6d2a28-7c6e-4106-a327-1058fe8b7c05" providerId="ADAL" clId="{C15EC1BA-EE25-4672-92A2-9249CEBF869C}" dt="2024-02-22T06:43:30.134" v="11540" actId="478"/>
          <ac:spMkLst>
            <pc:docMk/>
            <pc:sldMk cId="1925309992" sldId="2146847675"/>
            <ac:spMk id="33" creationId="{19BAF2BF-4F79-832E-1B49-F91775AA7A3F}"/>
          </ac:spMkLst>
        </pc:spChg>
        <pc:spChg chg="add del mod">
          <ac:chgData name="Siddhartha Paul" userId="0f6d2a28-7c6e-4106-a327-1058fe8b7c05" providerId="ADAL" clId="{C15EC1BA-EE25-4672-92A2-9249CEBF869C}" dt="2024-02-22T06:43:35.766" v="11541" actId="478"/>
          <ac:spMkLst>
            <pc:docMk/>
            <pc:sldMk cId="1925309992" sldId="2146847675"/>
            <ac:spMk id="34" creationId="{7A123CD8-3DCD-99FD-D4D3-4B6316398120}"/>
          </ac:spMkLst>
        </pc:spChg>
        <pc:spChg chg="add del mod">
          <ac:chgData name="Siddhartha Paul" userId="0f6d2a28-7c6e-4106-a327-1058fe8b7c05" providerId="ADAL" clId="{C15EC1BA-EE25-4672-92A2-9249CEBF869C}" dt="2024-02-22T06:43:30.134" v="11540" actId="478"/>
          <ac:spMkLst>
            <pc:docMk/>
            <pc:sldMk cId="1925309992" sldId="2146847675"/>
            <ac:spMk id="35" creationId="{8EDD8339-6406-CC4D-3E02-31F6B65B4B13}"/>
          </ac:spMkLst>
        </pc:spChg>
        <pc:spChg chg="add mod">
          <ac:chgData name="Siddhartha Paul" userId="0f6d2a28-7c6e-4106-a327-1058fe8b7c05" providerId="ADAL" clId="{C15EC1BA-EE25-4672-92A2-9249CEBF869C}" dt="2024-02-22T06:49:06.933" v="11711" actId="1038"/>
          <ac:spMkLst>
            <pc:docMk/>
            <pc:sldMk cId="1925309992" sldId="2146847675"/>
            <ac:spMk id="39" creationId="{E476898F-95FF-E716-614F-78AD130F20FE}"/>
          </ac:spMkLst>
        </pc:spChg>
        <pc:spChg chg="add mod">
          <ac:chgData name="Siddhartha Paul" userId="0f6d2a28-7c6e-4106-a327-1058fe8b7c05" providerId="ADAL" clId="{C15EC1BA-EE25-4672-92A2-9249CEBF869C}" dt="2024-02-22T06:49:06.933" v="11711" actId="1038"/>
          <ac:spMkLst>
            <pc:docMk/>
            <pc:sldMk cId="1925309992" sldId="2146847675"/>
            <ac:spMk id="40" creationId="{52EEB84D-AE59-78DE-CB48-30F50B5C1E29}"/>
          </ac:spMkLst>
        </pc:spChg>
        <pc:spChg chg="add mod">
          <ac:chgData name="Siddhartha Paul" userId="0f6d2a28-7c6e-4106-a327-1058fe8b7c05" providerId="ADAL" clId="{C15EC1BA-EE25-4672-92A2-9249CEBF869C}" dt="2024-02-22T06:51:37.706" v="11849" actId="1076"/>
          <ac:spMkLst>
            <pc:docMk/>
            <pc:sldMk cId="1925309992" sldId="2146847675"/>
            <ac:spMk id="41" creationId="{145875D3-0C96-9AFF-F851-9791E32BF9EE}"/>
          </ac:spMkLst>
        </pc:spChg>
        <pc:spChg chg="add mod">
          <ac:chgData name="Siddhartha Paul" userId="0f6d2a28-7c6e-4106-a327-1058fe8b7c05" providerId="ADAL" clId="{C15EC1BA-EE25-4672-92A2-9249CEBF869C}" dt="2024-02-22T07:47:21.986" v="12340" actId="1076"/>
          <ac:spMkLst>
            <pc:docMk/>
            <pc:sldMk cId="1925309992" sldId="2146847675"/>
            <ac:spMk id="42" creationId="{97EE6452-9011-5420-E92A-FE8151406245}"/>
          </ac:spMkLst>
        </pc:spChg>
        <pc:spChg chg="add mod">
          <ac:chgData name="Siddhartha Paul" userId="0f6d2a28-7c6e-4106-a327-1058fe8b7c05" providerId="ADAL" clId="{C15EC1BA-EE25-4672-92A2-9249CEBF869C}" dt="2024-02-22T06:49:06.933" v="11711" actId="1038"/>
          <ac:spMkLst>
            <pc:docMk/>
            <pc:sldMk cId="1925309992" sldId="2146847675"/>
            <ac:spMk id="43" creationId="{03496D93-E956-EEDB-D711-197A410A0F2B}"/>
          </ac:spMkLst>
        </pc:spChg>
        <pc:spChg chg="add mod">
          <ac:chgData name="Siddhartha Paul" userId="0f6d2a28-7c6e-4106-a327-1058fe8b7c05" providerId="ADAL" clId="{C15EC1BA-EE25-4672-92A2-9249CEBF869C}" dt="2024-02-22T06:49:06.933" v="11711" actId="1038"/>
          <ac:spMkLst>
            <pc:docMk/>
            <pc:sldMk cId="1925309992" sldId="2146847675"/>
            <ac:spMk id="44" creationId="{51CA726B-099E-369D-8E8E-612714E33C42}"/>
          </ac:spMkLst>
        </pc:spChg>
        <pc:spChg chg="add mod">
          <ac:chgData name="Siddhartha Paul" userId="0f6d2a28-7c6e-4106-a327-1058fe8b7c05" providerId="ADAL" clId="{C15EC1BA-EE25-4672-92A2-9249CEBF869C}" dt="2024-02-22T06:49:06.933" v="11711" actId="1038"/>
          <ac:spMkLst>
            <pc:docMk/>
            <pc:sldMk cId="1925309992" sldId="2146847675"/>
            <ac:spMk id="45" creationId="{03C18036-9B09-96D0-0D47-BBDB2D858441}"/>
          </ac:spMkLst>
        </pc:spChg>
        <pc:spChg chg="add mod">
          <ac:chgData name="Siddhartha Paul" userId="0f6d2a28-7c6e-4106-a327-1058fe8b7c05" providerId="ADAL" clId="{C15EC1BA-EE25-4672-92A2-9249CEBF869C}" dt="2024-02-22T06:50:09.972" v="11751" actId="1076"/>
          <ac:spMkLst>
            <pc:docMk/>
            <pc:sldMk cId="1925309992" sldId="2146847675"/>
            <ac:spMk id="48" creationId="{8767AF3C-4B6E-587C-5093-72273927943A}"/>
          </ac:spMkLst>
        </pc:spChg>
        <pc:spChg chg="add mod">
          <ac:chgData name="Siddhartha Paul" userId="0f6d2a28-7c6e-4106-a327-1058fe8b7c05" providerId="ADAL" clId="{C15EC1BA-EE25-4672-92A2-9249CEBF869C}" dt="2024-02-22T06:56:26.902" v="11893"/>
          <ac:spMkLst>
            <pc:docMk/>
            <pc:sldMk cId="1925309992" sldId="2146847675"/>
            <ac:spMk id="49" creationId="{15458A09-4248-C318-4307-50192842519A}"/>
          </ac:spMkLst>
        </pc:spChg>
        <pc:spChg chg="del">
          <ac:chgData name="Siddhartha Paul" userId="0f6d2a28-7c6e-4106-a327-1058fe8b7c05" providerId="ADAL" clId="{C15EC1BA-EE25-4672-92A2-9249CEBF869C}" dt="2024-02-22T06:43:23.895" v="11538" actId="478"/>
          <ac:spMkLst>
            <pc:docMk/>
            <pc:sldMk cId="1925309992" sldId="2146847675"/>
            <ac:spMk id="55" creationId="{98C7C1D3-DE36-AB46-BFAD-0A4C7FCD9306}"/>
          </ac:spMkLst>
        </pc:spChg>
        <pc:spChg chg="del">
          <ac:chgData name="Siddhartha Paul" userId="0f6d2a28-7c6e-4106-a327-1058fe8b7c05" providerId="ADAL" clId="{C15EC1BA-EE25-4672-92A2-9249CEBF869C}" dt="2024-02-22T06:43:23.895" v="11538" actId="478"/>
          <ac:spMkLst>
            <pc:docMk/>
            <pc:sldMk cId="1925309992" sldId="2146847675"/>
            <ac:spMk id="56" creationId="{D000AFD5-E197-4274-185B-D01CD9B656C9}"/>
          </ac:spMkLst>
        </pc:spChg>
        <pc:spChg chg="del">
          <ac:chgData name="Siddhartha Paul" userId="0f6d2a28-7c6e-4106-a327-1058fe8b7c05" providerId="ADAL" clId="{C15EC1BA-EE25-4672-92A2-9249CEBF869C}" dt="2024-02-22T06:43:23.895" v="11538" actId="478"/>
          <ac:spMkLst>
            <pc:docMk/>
            <pc:sldMk cId="1925309992" sldId="2146847675"/>
            <ac:spMk id="57" creationId="{45C2817E-ABC0-D168-28B8-8C5ED3A77102}"/>
          </ac:spMkLst>
        </pc:spChg>
        <pc:spChg chg="del">
          <ac:chgData name="Siddhartha Paul" userId="0f6d2a28-7c6e-4106-a327-1058fe8b7c05" providerId="ADAL" clId="{C15EC1BA-EE25-4672-92A2-9249CEBF869C}" dt="2024-02-22T06:43:23.895" v="11538" actId="478"/>
          <ac:spMkLst>
            <pc:docMk/>
            <pc:sldMk cId="1925309992" sldId="2146847675"/>
            <ac:spMk id="58" creationId="{7B1E0A46-96F3-83FC-CFCD-D4541F2E7285}"/>
          </ac:spMkLst>
        </pc:spChg>
        <pc:spChg chg="del">
          <ac:chgData name="Siddhartha Paul" userId="0f6d2a28-7c6e-4106-a327-1058fe8b7c05" providerId="ADAL" clId="{C15EC1BA-EE25-4672-92A2-9249CEBF869C}" dt="2024-02-22T06:43:23.895" v="11538" actId="478"/>
          <ac:spMkLst>
            <pc:docMk/>
            <pc:sldMk cId="1925309992" sldId="2146847675"/>
            <ac:spMk id="59" creationId="{A407D6C4-9233-C41F-EC18-A41BBA5A3E4C}"/>
          </ac:spMkLst>
        </pc:spChg>
        <pc:spChg chg="del">
          <ac:chgData name="Siddhartha Paul" userId="0f6d2a28-7c6e-4106-a327-1058fe8b7c05" providerId="ADAL" clId="{C15EC1BA-EE25-4672-92A2-9249CEBF869C}" dt="2024-02-22T06:43:23.895" v="11538" actId="478"/>
          <ac:spMkLst>
            <pc:docMk/>
            <pc:sldMk cId="1925309992" sldId="2146847675"/>
            <ac:spMk id="60" creationId="{8B8DD66D-493F-5BD2-F662-6A49667AC8CE}"/>
          </ac:spMkLst>
        </pc:spChg>
        <pc:spChg chg="del">
          <ac:chgData name="Siddhartha Paul" userId="0f6d2a28-7c6e-4106-a327-1058fe8b7c05" providerId="ADAL" clId="{C15EC1BA-EE25-4672-92A2-9249CEBF869C}" dt="2024-02-22T06:43:23.895" v="11538" actId="478"/>
          <ac:spMkLst>
            <pc:docMk/>
            <pc:sldMk cId="1925309992" sldId="2146847675"/>
            <ac:spMk id="61" creationId="{073E7A67-FD51-5989-1B53-3805E810AED9}"/>
          </ac:spMkLst>
        </pc:spChg>
        <pc:spChg chg="del">
          <ac:chgData name="Siddhartha Paul" userId="0f6d2a28-7c6e-4106-a327-1058fe8b7c05" providerId="ADAL" clId="{C15EC1BA-EE25-4672-92A2-9249CEBF869C}" dt="2024-02-22T06:43:23.895" v="11538" actId="478"/>
          <ac:spMkLst>
            <pc:docMk/>
            <pc:sldMk cId="1925309992" sldId="2146847675"/>
            <ac:spMk id="62" creationId="{92B32A9A-1A21-9479-0D19-7ED977DD8429}"/>
          </ac:spMkLst>
        </pc:spChg>
        <pc:spChg chg="del">
          <ac:chgData name="Siddhartha Paul" userId="0f6d2a28-7c6e-4106-a327-1058fe8b7c05" providerId="ADAL" clId="{C15EC1BA-EE25-4672-92A2-9249CEBF869C}" dt="2024-02-22T06:43:23.895" v="11538" actId="478"/>
          <ac:spMkLst>
            <pc:docMk/>
            <pc:sldMk cId="1925309992" sldId="2146847675"/>
            <ac:spMk id="63" creationId="{406394EE-4986-291D-1E94-6B9CAE127DD4}"/>
          </ac:spMkLst>
        </pc:spChg>
        <pc:spChg chg="del">
          <ac:chgData name="Siddhartha Paul" userId="0f6d2a28-7c6e-4106-a327-1058fe8b7c05" providerId="ADAL" clId="{C15EC1BA-EE25-4672-92A2-9249CEBF869C}" dt="2024-02-22T06:56:26.581" v="11892" actId="478"/>
          <ac:spMkLst>
            <pc:docMk/>
            <pc:sldMk cId="1925309992" sldId="2146847675"/>
            <ac:spMk id="7168" creationId="{2C91FFBB-D8C3-68D3-4FDE-83E641D4A6F6}"/>
          </ac:spMkLst>
        </pc:spChg>
        <pc:spChg chg="mod">
          <ac:chgData name="Siddhartha Paul" userId="0f6d2a28-7c6e-4106-a327-1058fe8b7c05" providerId="ADAL" clId="{C15EC1BA-EE25-4672-92A2-9249CEBF869C}" dt="2024-02-22T07:04:50.489" v="12175"/>
          <ac:spMkLst>
            <pc:docMk/>
            <pc:sldMk cId="1925309992" sldId="2146847675"/>
            <ac:spMk id="7175" creationId="{140A8E97-FDBF-D2E2-0AE8-3FA46159A5B2}"/>
          </ac:spMkLst>
        </pc:spChg>
        <pc:grpChg chg="add del mod">
          <ac:chgData name="Siddhartha Paul" userId="0f6d2a28-7c6e-4106-a327-1058fe8b7c05" providerId="ADAL" clId="{C15EC1BA-EE25-4672-92A2-9249CEBF869C}" dt="2024-02-22T06:43:45.098" v="11542" actId="165"/>
          <ac:grpSpMkLst>
            <pc:docMk/>
            <pc:sldMk cId="1925309992" sldId="2146847675"/>
            <ac:grpSpMk id="3" creationId="{149C1711-0198-D243-A98F-369BDEDE26B1}"/>
          </ac:grpSpMkLst>
        </pc:grpChg>
        <pc:grpChg chg="add mod topLvl">
          <ac:chgData name="Siddhartha Paul" userId="0f6d2a28-7c6e-4106-a327-1058fe8b7c05" providerId="ADAL" clId="{C15EC1BA-EE25-4672-92A2-9249CEBF869C}" dt="2024-02-22T06:44:10.423" v="11547" actId="164"/>
          <ac:grpSpMkLst>
            <pc:docMk/>
            <pc:sldMk cId="1925309992" sldId="2146847675"/>
            <ac:grpSpMk id="9" creationId="{0F386AE2-4F77-1F17-8E39-6C2D7B9280E4}"/>
          </ac:grpSpMkLst>
        </pc:grpChg>
        <pc:grpChg chg="add del mod">
          <ac:chgData name="Siddhartha Paul" userId="0f6d2a28-7c6e-4106-a327-1058fe8b7c05" providerId="ADAL" clId="{C15EC1BA-EE25-4672-92A2-9249CEBF869C}" dt="2024-02-22T06:43:30.134" v="11540" actId="478"/>
          <ac:grpSpMkLst>
            <pc:docMk/>
            <pc:sldMk cId="1925309992" sldId="2146847675"/>
            <ac:grpSpMk id="17" creationId="{6F1BCE36-A9AD-31C9-3E76-C3638C88C031}"/>
          </ac:grpSpMkLst>
        </pc:grpChg>
        <pc:grpChg chg="add mod">
          <ac:chgData name="Siddhartha Paul" userId="0f6d2a28-7c6e-4106-a327-1058fe8b7c05" providerId="ADAL" clId="{C15EC1BA-EE25-4672-92A2-9249CEBF869C}" dt="2024-02-22T06:44:22.007" v="11550" actId="164"/>
          <ac:grpSpMkLst>
            <pc:docMk/>
            <pc:sldMk cId="1925309992" sldId="2146847675"/>
            <ac:grpSpMk id="36" creationId="{35DAECE2-2F3B-1D7D-622F-CBCA08BC51A0}"/>
          </ac:grpSpMkLst>
        </pc:grpChg>
        <pc:grpChg chg="add mod">
          <ac:chgData name="Siddhartha Paul" userId="0f6d2a28-7c6e-4106-a327-1058fe8b7c05" providerId="ADAL" clId="{C15EC1BA-EE25-4672-92A2-9249CEBF869C}" dt="2024-02-22T06:49:06.933" v="11711" actId="1038"/>
          <ac:grpSpMkLst>
            <pc:docMk/>
            <pc:sldMk cId="1925309992" sldId="2146847675"/>
            <ac:grpSpMk id="37" creationId="{D382DBCC-4C02-3982-BD9D-F2E134DF5FFA}"/>
          </ac:grpSpMkLst>
        </pc:grpChg>
        <pc:picChg chg="del">
          <ac:chgData name="Siddhartha Paul" userId="0f6d2a28-7c6e-4106-a327-1058fe8b7c05" providerId="ADAL" clId="{C15EC1BA-EE25-4672-92A2-9249CEBF869C}" dt="2024-02-22T06:43:23.895" v="11538" actId="478"/>
          <ac:picMkLst>
            <pc:docMk/>
            <pc:sldMk cId="1925309992" sldId="2146847675"/>
            <ac:picMk id="4098" creationId="{9FCC8B7F-7D06-9122-66FF-A18A0768BDF8}"/>
          </ac:picMkLst>
        </pc:picChg>
        <pc:picChg chg="del">
          <ac:chgData name="Siddhartha Paul" userId="0f6d2a28-7c6e-4106-a327-1058fe8b7c05" providerId="ADAL" clId="{C15EC1BA-EE25-4672-92A2-9249CEBF869C}" dt="2024-02-22T06:43:23.895" v="11538" actId="478"/>
          <ac:picMkLst>
            <pc:docMk/>
            <pc:sldMk cId="1925309992" sldId="2146847675"/>
            <ac:picMk id="4100" creationId="{F5683017-B7D8-8078-A15A-ED292871E858}"/>
          </ac:picMkLst>
        </pc:picChg>
        <pc:picChg chg="del">
          <ac:chgData name="Siddhartha Paul" userId="0f6d2a28-7c6e-4106-a327-1058fe8b7c05" providerId="ADAL" clId="{C15EC1BA-EE25-4672-92A2-9249CEBF869C}" dt="2024-02-22T06:43:23.895" v="11538" actId="478"/>
          <ac:picMkLst>
            <pc:docMk/>
            <pc:sldMk cId="1925309992" sldId="2146847675"/>
            <ac:picMk id="7170" creationId="{9E8E6DEA-9D7C-3EBF-B159-2AB62881A1AF}"/>
          </ac:picMkLst>
        </pc:picChg>
        <pc:cxnChg chg="del">
          <ac:chgData name="Siddhartha Paul" userId="0f6d2a28-7c6e-4106-a327-1058fe8b7c05" providerId="ADAL" clId="{C15EC1BA-EE25-4672-92A2-9249CEBF869C}" dt="2024-02-22T06:43:23.895" v="11538" actId="478"/>
          <ac:cxnSpMkLst>
            <pc:docMk/>
            <pc:sldMk cId="1925309992" sldId="2146847675"/>
            <ac:cxnSpMk id="22" creationId="{797CBF8D-2557-447D-57D0-0B46F663CA58}"/>
          </ac:cxnSpMkLst>
        </pc:cxnChg>
        <pc:cxnChg chg="del">
          <ac:chgData name="Siddhartha Paul" userId="0f6d2a28-7c6e-4106-a327-1058fe8b7c05" providerId="ADAL" clId="{C15EC1BA-EE25-4672-92A2-9249CEBF869C}" dt="2024-02-22T06:43:23.895" v="11538" actId="478"/>
          <ac:cxnSpMkLst>
            <pc:docMk/>
            <pc:sldMk cId="1925309992" sldId="2146847675"/>
            <ac:cxnSpMk id="27" creationId="{07866B41-4033-18AC-1515-9B533F066E54}"/>
          </ac:cxnSpMkLst>
        </pc:cxnChg>
        <pc:cxnChg chg="add mod">
          <ac:chgData name="Siddhartha Paul" userId="0f6d2a28-7c6e-4106-a327-1058fe8b7c05" providerId="ADAL" clId="{C15EC1BA-EE25-4672-92A2-9249CEBF869C}" dt="2024-02-22T06:50:06.394" v="11750" actId="1076"/>
          <ac:cxnSpMkLst>
            <pc:docMk/>
            <pc:sldMk cId="1925309992" sldId="2146847675"/>
            <ac:cxnSpMk id="47" creationId="{D77693E5-2389-D3B1-34D7-9F372C9ACA97}"/>
          </ac:cxnSpMkLst>
        </pc:cxnChg>
      </pc:sldChg>
      <pc:sldMasterChg chg="delSldLayout">
        <pc:chgData name="Siddhartha Paul" userId="0f6d2a28-7c6e-4106-a327-1058fe8b7c05" providerId="ADAL" clId="{C15EC1BA-EE25-4672-92A2-9249CEBF869C}" dt="2024-02-21T08:14:47.781" v="9402" actId="47"/>
        <pc:sldMasterMkLst>
          <pc:docMk/>
          <pc:sldMasterMk cId="0" sldId="2147483648"/>
        </pc:sldMasterMkLst>
        <pc:sldLayoutChg chg="del">
          <pc:chgData name="Siddhartha Paul" userId="0f6d2a28-7c6e-4106-a327-1058fe8b7c05" providerId="ADAL" clId="{C15EC1BA-EE25-4672-92A2-9249CEBF869C}" dt="2024-02-21T08:14:47.781" v="9402" actId="47"/>
          <pc:sldLayoutMkLst>
            <pc:docMk/>
            <pc:sldMasterMk cId="0" sldId="2147483648"/>
            <pc:sldLayoutMk cId="1677788494" sldId="214748386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E79F4D-1877-C147-9B2F-883BD5F0153A}" type="datetimeFigureOut">
              <a:rPr lang="en-US" smtClean="0"/>
              <a:t>2/2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CCC957-6344-9847-B063-A6F3BBBC0D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396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CCC957-6344-9847-B063-A6F3BBBC0DB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4181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CCC957-6344-9847-B063-A6F3BBBC0DB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3014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CCC957-6344-9847-B063-A6F3BBBC0DB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20347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CCC957-6344-9847-B063-A6F3BBBC0DB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8454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CCC957-6344-9847-B063-A6F3BBBC0DB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6103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CCC957-6344-9847-B063-A6F3BBBC0DB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36053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CCC957-6344-9847-B063-A6F3BBBC0DB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3554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CCC957-6344-9847-B063-A6F3BBBC0DB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6457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CCC957-6344-9847-B063-A6F3BBBC0DB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972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CCC957-6344-9847-B063-A6F3BBBC0DB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1449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CCC957-6344-9847-B063-A6F3BBBC0DB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8179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CCC957-6344-9847-B063-A6F3BBBC0DB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9300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CCC957-6344-9847-B063-A6F3BBBC0DB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5734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CCC957-6344-9847-B063-A6F3BBBC0DB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9125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CCC957-6344-9847-B063-A6F3BBBC0DB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5254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buFont typeface="+mj-lt"/>
              <a:buNone/>
            </a:pP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CCC957-6344-9847-B063-A6F3BBBC0DB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818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6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7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8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3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9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24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0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1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24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2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23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24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4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23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5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4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6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4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0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5" Type="http://schemas.openxmlformats.org/officeDocument/2006/relationships/image" Target="../media/image27.png"/><Relationship Id="rId4" Type="http://schemas.openxmlformats.org/officeDocument/2006/relationships/image" Target="../media/image25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4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5" Type="http://schemas.openxmlformats.org/officeDocument/2006/relationships/image" Target="../media/image4.png"/><Relationship Id="rId4" Type="http://schemas.openxmlformats.org/officeDocument/2006/relationships/image" Target="../media/image2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0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0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0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4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7.bin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0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23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31.bin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24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26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7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24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4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23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5.bin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24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23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7.bin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24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4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Relationship Id="rId5" Type="http://schemas.openxmlformats.org/officeDocument/2006/relationships/image" Target="../media/image4.png"/><Relationship Id="rId4" Type="http://schemas.openxmlformats.org/officeDocument/2006/relationships/image" Target="../media/image2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Relationship Id="rId5" Type="http://schemas.openxmlformats.org/officeDocument/2006/relationships/image" Target="../media/image10.png"/><Relationship Id="rId4" Type="http://schemas.openxmlformats.org/officeDocument/2006/relationships/image" Target="../media/image2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Relationship Id="rId5" Type="http://schemas.openxmlformats.org/officeDocument/2006/relationships/image" Target="../media/image4.png"/><Relationship Id="rId4" Type="http://schemas.openxmlformats.org/officeDocument/2006/relationships/image" Target="../media/image20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7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Relationship Id="rId6" Type="http://schemas.openxmlformats.org/officeDocument/2006/relationships/image" Target="../media/image4.png"/><Relationship Id="rId5" Type="http://schemas.openxmlformats.org/officeDocument/2006/relationships/image" Target="../media/image22.png"/><Relationship Id="rId4" Type="http://schemas.openxmlformats.org/officeDocument/2006/relationships/image" Target="../media/image20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7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Relationship Id="rId6" Type="http://schemas.openxmlformats.org/officeDocument/2006/relationships/image" Target="../media/image2.png"/><Relationship Id="rId5" Type="http://schemas.openxmlformats.org/officeDocument/2006/relationships/image" Target="../media/image22.png"/><Relationship Id="rId4" Type="http://schemas.openxmlformats.org/officeDocument/2006/relationships/image" Target="../media/image20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2736A59D-87A2-F64D-84A3-6086E2ABF9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1E0A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6" y="673601"/>
            <a:ext cx="10218737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6" y="1483727"/>
            <a:ext cx="10218737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ED98105B-D22F-2842-80CA-0A23F7E4CE7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B6C979-826F-4585-A27C-606D0BC4E4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560388" y="5789801"/>
            <a:ext cx="2729437" cy="586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07443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icon&#10;&#10;Description automatically generated">
            <a:extLst>
              <a:ext uri="{FF2B5EF4-FFF2-40B4-BE49-F238E27FC236}">
                <a16:creationId xmlns:a16="http://schemas.microsoft.com/office/drawing/2014/main" id="{7451448B-BD30-7746-9DDD-339C48ED7F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Icon&#10;&#10;Description automatically generated with low confidence">
            <a:extLst>
              <a:ext uri="{FF2B5EF4-FFF2-40B4-BE49-F238E27FC236}">
                <a16:creationId xmlns:a16="http://schemas.microsoft.com/office/drawing/2014/main" id="{298C7D56-CF9C-3748-8C12-E8F9D671A6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80088"/>
            <a:ext cx="30765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6" y="673601"/>
            <a:ext cx="10218737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6" y="1483727"/>
            <a:ext cx="10218737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1F14A81A-EA54-E147-99A3-53FD18CD644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10F3762-C89B-334D-A416-FD40C146F1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781788" y="6128324"/>
            <a:ext cx="1944414" cy="20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9347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442311B9-23A3-AF41-B7CA-701A62E398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1E0A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35C18E3-956D-F64A-8AD4-8290AAF578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75325"/>
            <a:ext cx="31019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7" y="673601"/>
            <a:ext cx="9056186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7" y="1483727"/>
            <a:ext cx="9056186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19F7C207-8D1D-3841-ADB9-E94A6406E94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800C4E5-747B-B146-9DCA-179E3408C3D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802812" y="663698"/>
            <a:ext cx="1944405" cy="20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15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hape&#10;&#10;Description automatically generated">
            <a:extLst>
              <a:ext uri="{FF2B5EF4-FFF2-40B4-BE49-F238E27FC236}">
                <a16:creationId xmlns:a16="http://schemas.microsoft.com/office/drawing/2014/main" id="{E489E7D0-C232-EA49-81F7-66A760987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170360A-0C63-E240-83CA-1D764A54E5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75325"/>
            <a:ext cx="31019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7" y="673601"/>
            <a:ext cx="9056186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7" y="1483727"/>
            <a:ext cx="9056186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6B103E47-2D4B-3940-AC08-9AEFDFB9120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532824C-75D9-424D-B610-29AAF962C4B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802812" y="663698"/>
            <a:ext cx="1944405" cy="20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0631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hape, icon&#10;&#10;Description automatically generated">
            <a:extLst>
              <a:ext uri="{FF2B5EF4-FFF2-40B4-BE49-F238E27FC236}">
                <a16:creationId xmlns:a16="http://schemas.microsoft.com/office/drawing/2014/main" id="{E0A8FE11-4B9F-D440-8EFF-B29604CAB1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AD33A65-EF16-6A4E-B1D1-B60F96169A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75325"/>
            <a:ext cx="31019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7" y="673601"/>
            <a:ext cx="9056186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7" y="1483727"/>
            <a:ext cx="9056186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3E027DC-C22D-8A45-A4B1-826B7F49570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2EB2A28-60C7-8E4D-A2F2-A794035A43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802812" y="663698"/>
            <a:ext cx="1944405" cy="20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3659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Icon&#10;&#10;Description automatically generated with medium confidence">
            <a:extLst>
              <a:ext uri="{FF2B5EF4-FFF2-40B4-BE49-F238E27FC236}">
                <a16:creationId xmlns:a16="http://schemas.microsoft.com/office/drawing/2014/main" id="{C38270EA-42D2-974B-917F-B31F368B4C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73C9073-C20A-5A4E-A613-554C4D3FAB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75325"/>
            <a:ext cx="31019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7" y="673601"/>
            <a:ext cx="9056186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7" y="1483727"/>
            <a:ext cx="9056186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AD89D9D-25FC-0948-92E8-8EA644FB3B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61B482-B371-6644-9CE2-83183C04DD4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802812" y="663698"/>
            <a:ext cx="1944405" cy="20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7078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Icon&#10;&#10;Description automatically generated with medium confidence">
            <a:extLst>
              <a:ext uri="{FF2B5EF4-FFF2-40B4-BE49-F238E27FC236}">
                <a16:creationId xmlns:a16="http://schemas.microsoft.com/office/drawing/2014/main" id="{C2955776-06BF-5249-BBDB-5F2958BA79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099A0E0-F2F2-8C44-BC35-20CA41B5F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75325"/>
            <a:ext cx="31019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7" y="673601"/>
            <a:ext cx="9056186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7" y="1483727"/>
            <a:ext cx="9056186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CCDB49C7-3ABC-3545-82A0-292F28A68D19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8C4E51E-32C4-6544-8E63-077F38231A1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802812" y="663698"/>
            <a:ext cx="1944405" cy="20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7700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822BD19E-2B8F-494E-92BD-F4292DF874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8" y="-9525"/>
            <a:ext cx="12192000" cy="687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>
            <a:extLst>
              <a:ext uri="{FF2B5EF4-FFF2-40B4-BE49-F238E27FC236}">
                <a16:creationId xmlns:a16="http://schemas.microsoft.com/office/drawing/2014/main" id="{1CB14946-6C14-2044-8B15-9BF9D77790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6500" y="673100"/>
            <a:ext cx="1535113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Icon&#10;&#10;Description automatically generated with low confidence">
            <a:extLst>
              <a:ext uri="{FF2B5EF4-FFF2-40B4-BE49-F238E27FC236}">
                <a16:creationId xmlns:a16="http://schemas.microsoft.com/office/drawing/2014/main" id="{2310360E-5320-CA40-8B45-C1B81956A6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80088"/>
            <a:ext cx="30765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7" y="673601"/>
            <a:ext cx="9056186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7" y="1483727"/>
            <a:ext cx="9056186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F468728-8659-7242-A3A5-BCC3135BAF8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A68D53-F8BC-C145-814B-2E3FDA84011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9802812" y="663698"/>
            <a:ext cx="1944405" cy="206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9500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06058BFC-A468-9541-94B0-1425331BC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>
            <a:extLst>
              <a:ext uri="{FF2B5EF4-FFF2-40B4-BE49-F238E27FC236}">
                <a16:creationId xmlns:a16="http://schemas.microsoft.com/office/drawing/2014/main" id="{FE87F4DA-3551-8346-AACF-31E3BDE332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6500" y="673100"/>
            <a:ext cx="1535113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Icon&#10;&#10;Description automatically generated with low confidence">
            <a:extLst>
              <a:ext uri="{FF2B5EF4-FFF2-40B4-BE49-F238E27FC236}">
                <a16:creationId xmlns:a16="http://schemas.microsoft.com/office/drawing/2014/main" id="{C54ACCA7-EAF5-0D48-8881-C03E5DB70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80088"/>
            <a:ext cx="30765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7" y="673601"/>
            <a:ext cx="9056186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7" y="1483727"/>
            <a:ext cx="9056186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5182957-4EE4-5C41-A972-142276093FD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6B734F1-CD5D-4340-B962-0B484B35DBC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9802812" y="663698"/>
            <a:ext cx="1944405" cy="206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4605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hape&#10;&#10;Description automatically generated with low confidence">
            <a:extLst>
              <a:ext uri="{FF2B5EF4-FFF2-40B4-BE49-F238E27FC236}">
                <a16:creationId xmlns:a16="http://schemas.microsoft.com/office/drawing/2014/main" id="{AA81E431-DE4B-F54A-806B-D88A5A6861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>
            <a:extLst>
              <a:ext uri="{FF2B5EF4-FFF2-40B4-BE49-F238E27FC236}">
                <a16:creationId xmlns:a16="http://schemas.microsoft.com/office/drawing/2014/main" id="{2DA786F2-5056-9845-9D42-B75B67BF1F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6500" y="673100"/>
            <a:ext cx="1535113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Icon&#10;&#10;Description automatically generated with low confidence">
            <a:extLst>
              <a:ext uri="{FF2B5EF4-FFF2-40B4-BE49-F238E27FC236}">
                <a16:creationId xmlns:a16="http://schemas.microsoft.com/office/drawing/2014/main" id="{78C49100-9004-CC49-89D1-AB4F6EBBF7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80088"/>
            <a:ext cx="30765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7" y="673601"/>
            <a:ext cx="9056186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7" y="1483727"/>
            <a:ext cx="9056186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AF6D589E-B2A9-B24F-BB62-ABE92A0F082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CC55E8C-A57F-B34A-9A62-380DCFFD69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9802812" y="663698"/>
            <a:ext cx="1944405" cy="206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7634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shape&#10;&#10;Description automatically generated">
            <a:extLst>
              <a:ext uri="{FF2B5EF4-FFF2-40B4-BE49-F238E27FC236}">
                <a16:creationId xmlns:a16="http://schemas.microsoft.com/office/drawing/2014/main" id="{080B7EEB-0508-834E-B4C0-6C35E3C62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>
            <a:extLst>
              <a:ext uri="{FF2B5EF4-FFF2-40B4-BE49-F238E27FC236}">
                <a16:creationId xmlns:a16="http://schemas.microsoft.com/office/drawing/2014/main" id="{06CDFFEA-9D22-934F-9F95-17F3F9A8F6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6500" y="673100"/>
            <a:ext cx="1535113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Icon&#10;&#10;Description automatically generated with low confidence">
            <a:extLst>
              <a:ext uri="{FF2B5EF4-FFF2-40B4-BE49-F238E27FC236}">
                <a16:creationId xmlns:a16="http://schemas.microsoft.com/office/drawing/2014/main" id="{9FAC7EBD-78FC-7340-9146-9B50E3B4BE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80088"/>
            <a:ext cx="30765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7" y="673601"/>
            <a:ext cx="9056186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7" y="1483727"/>
            <a:ext cx="9056186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F4E4791-D4B6-A740-B4CB-B9390D74776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B2FE000-F17E-0048-88AB-3874E01B44F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9802812" y="663698"/>
            <a:ext cx="1944405" cy="206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4478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hape&#10;&#10;Description automatically generated">
            <a:extLst>
              <a:ext uri="{FF2B5EF4-FFF2-40B4-BE49-F238E27FC236}">
                <a16:creationId xmlns:a16="http://schemas.microsoft.com/office/drawing/2014/main" id="{729635E0-E2B6-F840-9F6B-C728DD3967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D8239F9-E2FA-6C4A-826C-1504BCDB56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75325"/>
            <a:ext cx="31019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6" y="673601"/>
            <a:ext cx="10218737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6" y="1483727"/>
            <a:ext cx="10218737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C04AE42-B7C3-3F4B-B40C-682B6883FFD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416ED-A8F9-864B-ADA6-F3B9499C431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781792" y="6128324"/>
            <a:ext cx="1944405" cy="20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774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icon&#10;&#10;Description automatically generated">
            <a:extLst>
              <a:ext uri="{FF2B5EF4-FFF2-40B4-BE49-F238E27FC236}">
                <a16:creationId xmlns:a16="http://schemas.microsoft.com/office/drawing/2014/main" id="{47BC9BF7-4396-0B4B-A59D-188967C977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>
            <a:extLst>
              <a:ext uri="{FF2B5EF4-FFF2-40B4-BE49-F238E27FC236}">
                <a16:creationId xmlns:a16="http://schemas.microsoft.com/office/drawing/2014/main" id="{58C9DFDA-D835-764A-9A24-B9ED020F48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6500" y="673100"/>
            <a:ext cx="1535113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Icon&#10;&#10;Description automatically generated with low confidence">
            <a:extLst>
              <a:ext uri="{FF2B5EF4-FFF2-40B4-BE49-F238E27FC236}">
                <a16:creationId xmlns:a16="http://schemas.microsoft.com/office/drawing/2014/main" id="{D9A5C708-DDAC-EA43-BE80-61AC366661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80088"/>
            <a:ext cx="30765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7" y="673601"/>
            <a:ext cx="9056186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7" y="1483727"/>
            <a:ext cx="9056186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7BCF8715-2D15-7C49-A22B-3F7D5EA86A4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0737017-FCE9-B34F-A9F7-A35AB3B2045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9802812" y="663698"/>
            <a:ext cx="1944405" cy="206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5513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4A1D083B-F473-0548-9FCE-0324135775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4563" y="5780088"/>
            <a:ext cx="30765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7" y="673601"/>
            <a:ext cx="7760908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44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6" y="1483727"/>
            <a:ext cx="6320035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Picture Placeholder 23"/>
          <p:cNvSpPr>
            <a:spLocks noGrp="1"/>
          </p:cNvSpPr>
          <p:nvPr>
            <p:ph type="pic" sz="quarter" idx="15"/>
          </p:nvPr>
        </p:nvSpPr>
        <p:spPr>
          <a:xfrm>
            <a:off x="2235200" y="1006764"/>
            <a:ext cx="9966036" cy="5865091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73527 w 12192000"/>
              <a:gd name="connsiteY2" fmla="*/ 1006764 h 6858000"/>
              <a:gd name="connsiteX3" fmla="*/ 12192000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0 h 6858000"/>
              <a:gd name="connsiteX0" fmla="*/ 0 w 12192000"/>
              <a:gd name="connsiteY0" fmla="*/ 0 h 6871855"/>
              <a:gd name="connsiteX1" fmla="*/ 12192000 w 12192000"/>
              <a:gd name="connsiteY1" fmla="*/ 0 h 6871855"/>
              <a:gd name="connsiteX2" fmla="*/ 12173527 w 12192000"/>
              <a:gd name="connsiteY2" fmla="*/ 1006764 h 6871855"/>
              <a:gd name="connsiteX3" fmla="*/ 12192000 w 12192000"/>
              <a:gd name="connsiteY3" fmla="*/ 6858000 h 6871855"/>
              <a:gd name="connsiteX4" fmla="*/ 2235200 w 12192000"/>
              <a:gd name="connsiteY4" fmla="*/ 6871855 h 6871855"/>
              <a:gd name="connsiteX5" fmla="*/ 0 w 12192000"/>
              <a:gd name="connsiteY5" fmla="*/ 6858000 h 6871855"/>
              <a:gd name="connsiteX6" fmla="*/ 0 w 12192000"/>
              <a:gd name="connsiteY6" fmla="*/ 0 h 6871855"/>
              <a:gd name="connsiteX0" fmla="*/ 0 w 12192000"/>
              <a:gd name="connsiteY0" fmla="*/ 0 h 6871855"/>
              <a:gd name="connsiteX1" fmla="*/ 12192000 w 12192000"/>
              <a:gd name="connsiteY1" fmla="*/ 0 h 6871855"/>
              <a:gd name="connsiteX2" fmla="*/ 12173527 w 12192000"/>
              <a:gd name="connsiteY2" fmla="*/ 1006764 h 6871855"/>
              <a:gd name="connsiteX3" fmla="*/ 12192000 w 12192000"/>
              <a:gd name="connsiteY3" fmla="*/ 6858000 h 6871855"/>
              <a:gd name="connsiteX4" fmla="*/ 2235200 w 12192000"/>
              <a:gd name="connsiteY4" fmla="*/ 6871855 h 6871855"/>
              <a:gd name="connsiteX5" fmla="*/ 0 w 12192000"/>
              <a:gd name="connsiteY5" fmla="*/ 0 h 6871855"/>
              <a:gd name="connsiteX0" fmla="*/ 0 w 9956800"/>
              <a:gd name="connsiteY0" fmla="*/ 6871855 h 6871855"/>
              <a:gd name="connsiteX1" fmla="*/ 9956800 w 9956800"/>
              <a:gd name="connsiteY1" fmla="*/ 0 h 6871855"/>
              <a:gd name="connsiteX2" fmla="*/ 9938327 w 9956800"/>
              <a:gd name="connsiteY2" fmla="*/ 1006764 h 6871855"/>
              <a:gd name="connsiteX3" fmla="*/ 9956800 w 9956800"/>
              <a:gd name="connsiteY3" fmla="*/ 6858000 h 6871855"/>
              <a:gd name="connsiteX4" fmla="*/ 0 w 9956800"/>
              <a:gd name="connsiteY4" fmla="*/ 6871855 h 6871855"/>
              <a:gd name="connsiteX0" fmla="*/ 0 w 9956800"/>
              <a:gd name="connsiteY0" fmla="*/ 6871855 h 6871855"/>
              <a:gd name="connsiteX1" fmla="*/ 9956800 w 9956800"/>
              <a:gd name="connsiteY1" fmla="*/ 0 h 6871855"/>
              <a:gd name="connsiteX2" fmla="*/ 9938327 w 9956800"/>
              <a:gd name="connsiteY2" fmla="*/ 1006764 h 6871855"/>
              <a:gd name="connsiteX3" fmla="*/ 9956800 w 9956800"/>
              <a:gd name="connsiteY3" fmla="*/ 6858000 h 6871855"/>
              <a:gd name="connsiteX4" fmla="*/ 3648364 w 9956800"/>
              <a:gd name="connsiteY4" fmla="*/ 6862618 h 6871855"/>
              <a:gd name="connsiteX5" fmla="*/ 0 w 9956800"/>
              <a:gd name="connsiteY5" fmla="*/ 6871855 h 6871855"/>
              <a:gd name="connsiteX0" fmla="*/ 0 w 10418654"/>
              <a:gd name="connsiteY0" fmla="*/ 6871855 h 6871855"/>
              <a:gd name="connsiteX1" fmla="*/ 9956800 w 10418654"/>
              <a:gd name="connsiteY1" fmla="*/ 0 h 6871855"/>
              <a:gd name="connsiteX2" fmla="*/ 9938327 w 10418654"/>
              <a:gd name="connsiteY2" fmla="*/ 1006764 h 6871855"/>
              <a:gd name="connsiteX3" fmla="*/ 9938327 w 10418654"/>
              <a:gd name="connsiteY3" fmla="*/ 4045527 h 6871855"/>
              <a:gd name="connsiteX4" fmla="*/ 9956800 w 10418654"/>
              <a:gd name="connsiteY4" fmla="*/ 6858000 h 6871855"/>
              <a:gd name="connsiteX5" fmla="*/ 3648364 w 10418654"/>
              <a:gd name="connsiteY5" fmla="*/ 6862618 h 6871855"/>
              <a:gd name="connsiteX6" fmla="*/ 0 w 10418654"/>
              <a:gd name="connsiteY6" fmla="*/ 6871855 h 6871855"/>
              <a:gd name="connsiteX0" fmla="*/ 0 w 10403566"/>
              <a:gd name="connsiteY0" fmla="*/ 6871855 h 6871855"/>
              <a:gd name="connsiteX1" fmla="*/ 9956800 w 10403566"/>
              <a:gd name="connsiteY1" fmla="*/ 0 h 6871855"/>
              <a:gd name="connsiteX2" fmla="*/ 9938327 w 10403566"/>
              <a:gd name="connsiteY2" fmla="*/ 1006764 h 6871855"/>
              <a:gd name="connsiteX3" fmla="*/ 9938327 w 10403566"/>
              <a:gd name="connsiteY3" fmla="*/ 4045527 h 6871855"/>
              <a:gd name="connsiteX4" fmla="*/ 3648364 w 10403566"/>
              <a:gd name="connsiteY4" fmla="*/ 6862618 h 6871855"/>
              <a:gd name="connsiteX5" fmla="*/ 0 w 10403566"/>
              <a:gd name="connsiteY5" fmla="*/ 6871855 h 6871855"/>
              <a:gd name="connsiteX0" fmla="*/ 0 w 10403566"/>
              <a:gd name="connsiteY0" fmla="*/ 5865091 h 5865091"/>
              <a:gd name="connsiteX1" fmla="*/ 9938327 w 10403566"/>
              <a:gd name="connsiteY1" fmla="*/ 0 h 5865091"/>
              <a:gd name="connsiteX2" fmla="*/ 9938327 w 10403566"/>
              <a:gd name="connsiteY2" fmla="*/ 3038763 h 5865091"/>
              <a:gd name="connsiteX3" fmla="*/ 3648364 w 10403566"/>
              <a:gd name="connsiteY3" fmla="*/ 5855854 h 5865091"/>
              <a:gd name="connsiteX4" fmla="*/ 0 w 10403566"/>
              <a:gd name="connsiteY4" fmla="*/ 5865091 h 5865091"/>
              <a:gd name="connsiteX0" fmla="*/ 0 w 10403566"/>
              <a:gd name="connsiteY0" fmla="*/ 5865091 h 5865091"/>
              <a:gd name="connsiteX1" fmla="*/ 9938327 w 10403566"/>
              <a:gd name="connsiteY1" fmla="*/ 0 h 5865091"/>
              <a:gd name="connsiteX2" fmla="*/ 9938327 w 10403566"/>
              <a:gd name="connsiteY2" fmla="*/ 3038763 h 5865091"/>
              <a:gd name="connsiteX3" fmla="*/ 3648364 w 10403566"/>
              <a:gd name="connsiteY3" fmla="*/ 5855854 h 5865091"/>
              <a:gd name="connsiteX4" fmla="*/ 0 w 10403566"/>
              <a:gd name="connsiteY4" fmla="*/ 5865091 h 5865091"/>
              <a:gd name="connsiteX0" fmla="*/ 0 w 10403566"/>
              <a:gd name="connsiteY0" fmla="*/ 5865091 h 5865091"/>
              <a:gd name="connsiteX1" fmla="*/ 9938327 w 10403566"/>
              <a:gd name="connsiteY1" fmla="*/ 0 h 5865091"/>
              <a:gd name="connsiteX2" fmla="*/ 9938327 w 10403566"/>
              <a:gd name="connsiteY2" fmla="*/ 3038763 h 5865091"/>
              <a:gd name="connsiteX3" fmla="*/ 3648364 w 10403566"/>
              <a:gd name="connsiteY3" fmla="*/ 5855854 h 5865091"/>
              <a:gd name="connsiteX4" fmla="*/ 0 w 10403566"/>
              <a:gd name="connsiteY4" fmla="*/ 5865091 h 5865091"/>
              <a:gd name="connsiteX0" fmla="*/ 0 w 10403566"/>
              <a:gd name="connsiteY0" fmla="*/ 5865091 h 5865091"/>
              <a:gd name="connsiteX1" fmla="*/ 9938327 w 10403566"/>
              <a:gd name="connsiteY1" fmla="*/ 0 h 5865091"/>
              <a:gd name="connsiteX2" fmla="*/ 9938327 w 10403566"/>
              <a:gd name="connsiteY2" fmla="*/ 3038763 h 5865091"/>
              <a:gd name="connsiteX3" fmla="*/ 3648364 w 10403566"/>
              <a:gd name="connsiteY3" fmla="*/ 5855854 h 5865091"/>
              <a:gd name="connsiteX4" fmla="*/ 0 w 10403566"/>
              <a:gd name="connsiteY4" fmla="*/ 5865091 h 5865091"/>
              <a:gd name="connsiteX0" fmla="*/ 0 w 9968441"/>
              <a:gd name="connsiteY0" fmla="*/ 5865091 h 5865091"/>
              <a:gd name="connsiteX1" fmla="*/ 9938327 w 9968441"/>
              <a:gd name="connsiteY1" fmla="*/ 0 h 5865091"/>
              <a:gd name="connsiteX2" fmla="*/ 9938327 w 9968441"/>
              <a:gd name="connsiteY2" fmla="*/ 3038763 h 5865091"/>
              <a:gd name="connsiteX3" fmla="*/ 3648364 w 9968441"/>
              <a:gd name="connsiteY3" fmla="*/ 5855854 h 5865091"/>
              <a:gd name="connsiteX4" fmla="*/ 0 w 9968441"/>
              <a:gd name="connsiteY4" fmla="*/ 5865091 h 5865091"/>
              <a:gd name="connsiteX0" fmla="*/ 0 w 9977375"/>
              <a:gd name="connsiteY0" fmla="*/ 5865091 h 5865091"/>
              <a:gd name="connsiteX1" fmla="*/ 9966036 w 9977375"/>
              <a:gd name="connsiteY1" fmla="*/ 0 h 5865091"/>
              <a:gd name="connsiteX2" fmla="*/ 9938327 w 9977375"/>
              <a:gd name="connsiteY2" fmla="*/ 3038763 h 5865091"/>
              <a:gd name="connsiteX3" fmla="*/ 3648364 w 9977375"/>
              <a:gd name="connsiteY3" fmla="*/ 5855854 h 5865091"/>
              <a:gd name="connsiteX4" fmla="*/ 0 w 9977375"/>
              <a:gd name="connsiteY4" fmla="*/ 5865091 h 5865091"/>
              <a:gd name="connsiteX0" fmla="*/ 0 w 10079968"/>
              <a:gd name="connsiteY0" fmla="*/ 5865091 h 5865091"/>
              <a:gd name="connsiteX1" fmla="*/ 9966036 w 10079968"/>
              <a:gd name="connsiteY1" fmla="*/ 0 h 5865091"/>
              <a:gd name="connsiteX2" fmla="*/ 9938327 w 10079968"/>
              <a:gd name="connsiteY2" fmla="*/ 3038763 h 5865091"/>
              <a:gd name="connsiteX3" fmla="*/ 3648364 w 10079968"/>
              <a:gd name="connsiteY3" fmla="*/ 5855854 h 5865091"/>
              <a:gd name="connsiteX4" fmla="*/ 0 w 10079968"/>
              <a:gd name="connsiteY4" fmla="*/ 5865091 h 5865091"/>
              <a:gd name="connsiteX0" fmla="*/ 0 w 9967416"/>
              <a:gd name="connsiteY0" fmla="*/ 5865091 h 5865091"/>
              <a:gd name="connsiteX1" fmla="*/ 9966036 w 9967416"/>
              <a:gd name="connsiteY1" fmla="*/ 0 h 5865091"/>
              <a:gd name="connsiteX2" fmla="*/ 9938327 w 9967416"/>
              <a:gd name="connsiteY2" fmla="*/ 3038763 h 5865091"/>
              <a:gd name="connsiteX3" fmla="*/ 3648364 w 9967416"/>
              <a:gd name="connsiteY3" fmla="*/ 5855854 h 5865091"/>
              <a:gd name="connsiteX4" fmla="*/ 0 w 9967416"/>
              <a:gd name="connsiteY4" fmla="*/ 5865091 h 5865091"/>
              <a:gd name="connsiteX0" fmla="*/ 0 w 9967416"/>
              <a:gd name="connsiteY0" fmla="*/ 5865091 h 5865091"/>
              <a:gd name="connsiteX1" fmla="*/ 9966036 w 9967416"/>
              <a:gd name="connsiteY1" fmla="*/ 0 h 5865091"/>
              <a:gd name="connsiteX2" fmla="*/ 9938327 w 9967416"/>
              <a:gd name="connsiteY2" fmla="*/ 3038763 h 5865091"/>
              <a:gd name="connsiteX3" fmla="*/ 3648364 w 9967416"/>
              <a:gd name="connsiteY3" fmla="*/ 5855854 h 5865091"/>
              <a:gd name="connsiteX4" fmla="*/ 0 w 9967416"/>
              <a:gd name="connsiteY4" fmla="*/ 5865091 h 5865091"/>
              <a:gd name="connsiteX0" fmla="*/ 0 w 9967416"/>
              <a:gd name="connsiteY0" fmla="*/ 5865091 h 5865091"/>
              <a:gd name="connsiteX1" fmla="*/ 9966036 w 9967416"/>
              <a:gd name="connsiteY1" fmla="*/ 0 h 5865091"/>
              <a:gd name="connsiteX2" fmla="*/ 9938327 w 9967416"/>
              <a:gd name="connsiteY2" fmla="*/ 3038763 h 5865091"/>
              <a:gd name="connsiteX3" fmla="*/ 3648364 w 9967416"/>
              <a:gd name="connsiteY3" fmla="*/ 5855854 h 5865091"/>
              <a:gd name="connsiteX4" fmla="*/ 0 w 9967416"/>
              <a:gd name="connsiteY4" fmla="*/ 5865091 h 5865091"/>
              <a:gd name="connsiteX0" fmla="*/ 0 w 9967416"/>
              <a:gd name="connsiteY0" fmla="*/ 5865091 h 5865091"/>
              <a:gd name="connsiteX1" fmla="*/ 9966036 w 9967416"/>
              <a:gd name="connsiteY1" fmla="*/ 0 h 5865091"/>
              <a:gd name="connsiteX2" fmla="*/ 9938327 w 9967416"/>
              <a:gd name="connsiteY2" fmla="*/ 3038763 h 5865091"/>
              <a:gd name="connsiteX3" fmla="*/ 3648364 w 9967416"/>
              <a:gd name="connsiteY3" fmla="*/ 5855854 h 5865091"/>
              <a:gd name="connsiteX4" fmla="*/ 0 w 9967416"/>
              <a:gd name="connsiteY4" fmla="*/ 5865091 h 5865091"/>
              <a:gd name="connsiteX0" fmla="*/ 0 w 9966036"/>
              <a:gd name="connsiteY0" fmla="*/ 5865091 h 5865091"/>
              <a:gd name="connsiteX1" fmla="*/ 9966036 w 9966036"/>
              <a:gd name="connsiteY1" fmla="*/ 0 h 5865091"/>
              <a:gd name="connsiteX2" fmla="*/ 9790545 w 9966036"/>
              <a:gd name="connsiteY2" fmla="*/ 2863272 h 5865091"/>
              <a:gd name="connsiteX3" fmla="*/ 3648364 w 9966036"/>
              <a:gd name="connsiteY3" fmla="*/ 5855854 h 5865091"/>
              <a:gd name="connsiteX4" fmla="*/ 0 w 9966036"/>
              <a:gd name="connsiteY4" fmla="*/ 5865091 h 5865091"/>
              <a:gd name="connsiteX0" fmla="*/ 0 w 9974541"/>
              <a:gd name="connsiteY0" fmla="*/ 5865091 h 5865091"/>
              <a:gd name="connsiteX1" fmla="*/ 9966036 w 9974541"/>
              <a:gd name="connsiteY1" fmla="*/ 0 h 5865091"/>
              <a:gd name="connsiteX2" fmla="*/ 9947564 w 9974541"/>
              <a:gd name="connsiteY2" fmla="*/ 3066472 h 5865091"/>
              <a:gd name="connsiteX3" fmla="*/ 3648364 w 9974541"/>
              <a:gd name="connsiteY3" fmla="*/ 5855854 h 5865091"/>
              <a:gd name="connsiteX4" fmla="*/ 0 w 9974541"/>
              <a:gd name="connsiteY4" fmla="*/ 5865091 h 5865091"/>
              <a:gd name="connsiteX0" fmla="*/ 0 w 9974541"/>
              <a:gd name="connsiteY0" fmla="*/ 5865091 h 5865091"/>
              <a:gd name="connsiteX1" fmla="*/ 9966036 w 9974541"/>
              <a:gd name="connsiteY1" fmla="*/ 0 h 5865091"/>
              <a:gd name="connsiteX2" fmla="*/ 9947564 w 9974541"/>
              <a:gd name="connsiteY2" fmla="*/ 3066472 h 5865091"/>
              <a:gd name="connsiteX3" fmla="*/ 3648364 w 9974541"/>
              <a:gd name="connsiteY3" fmla="*/ 5855854 h 5865091"/>
              <a:gd name="connsiteX4" fmla="*/ 0 w 9974541"/>
              <a:gd name="connsiteY4" fmla="*/ 5865091 h 5865091"/>
              <a:gd name="connsiteX0" fmla="*/ 0 w 9974541"/>
              <a:gd name="connsiteY0" fmla="*/ 5865091 h 5865091"/>
              <a:gd name="connsiteX1" fmla="*/ 9966036 w 9974541"/>
              <a:gd name="connsiteY1" fmla="*/ 0 h 5865091"/>
              <a:gd name="connsiteX2" fmla="*/ 9947564 w 9974541"/>
              <a:gd name="connsiteY2" fmla="*/ 3066472 h 5865091"/>
              <a:gd name="connsiteX3" fmla="*/ 3648364 w 9974541"/>
              <a:gd name="connsiteY3" fmla="*/ 5855854 h 5865091"/>
              <a:gd name="connsiteX4" fmla="*/ 0 w 9974541"/>
              <a:gd name="connsiteY4" fmla="*/ 5865091 h 5865091"/>
              <a:gd name="connsiteX0" fmla="*/ 0 w 9974541"/>
              <a:gd name="connsiteY0" fmla="*/ 5865091 h 5865091"/>
              <a:gd name="connsiteX1" fmla="*/ 9966036 w 9974541"/>
              <a:gd name="connsiteY1" fmla="*/ 0 h 5865091"/>
              <a:gd name="connsiteX2" fmla="*/ 9947564 w 9974541"/>
              <a:gd name="connsiteY2" fmla="*/ 3066472 h 5865091"/>
              <a:gd name="connsiteX3" fmla="*/ 3648364 w 9974541"/>
              <a:gd name="connsiteY3" fmla="*/ 5855854 h 5865091"/>
              <a:gd name="connsiteX4" fmla="*/ 0 w 9974541"/>
              <a:gd name="connsiteY4" fmla="*/ 5865091 h 5865091"/>
              <a:gd name="connsiteX0" fmla="*/ 0 w 10126181"/>
              <a:gd name="connsiteY0" fmla="*/ 5865091 h 5865091"/>
              <a:gd name="connsiteX1" fmla="*/ 9966036 w 10126181"/>
              <a:gd name="connsiteY1" fmla="*/ 0 h 5865091"/>
              <a:gd name="connsiteX2" fmla="*/ 9947564 w 10126181"/>
              <a:gd name="connsiteY2" fmla="*/ 3066472 h 5865091"/>
              <a:gd name="connsiteX3" fmla="*/ 3648364 w 10126181"/>
              <a:gd name="connsiteY3" fmla="*/ 5855854 h 5865091"/>
              <a:gd name="connsiteX4" fmla="*/ 0 w 10126181"/>
              <a:gd name="connsiteY4" fmla="*/ 5865091 h 5865091"/>
              <a:gd name="connsiteX0" fmla="*/ 0 w 9966036"/>
              <a:gd name="connsiteY0" fmla="*/ 5865091 h 5865091"/>
              <a:gd name="connsiteX1" fmla="*/ 9966036 w 9966036"/>
              <a:gd name="connsiteY1" fmla="*/ 0 h 5865091"/>
              <a:gd name="connsiteX2" fmla="*/ 9947564 w 9966036"/>
              <a:gd name="connsiteY2" fmla="*/ 3066472 h 5865091"/>
              <a:gd name="connsiteX3" fmla="*/ 3648364 w 9966036"/>
              <a:gd name="connsiteY3" fmla="*/ 5855854 h 5865091"/>
              <a:gd name="connsiteX4" fmla="*/ 0 w 9966036"/>
              <a:gd name="connsiteY4" fmla="*/ 5865091 h 5865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66036" h="5865091">
                <a:moveTo>
                  <a:pt x="0" y="5865091"/>
                </a:moveTo>
                <a:cubicBezTo>
                  <a:pt x="1262303" y="3485188"/>
                  <a:pt x="4214859" y="98521"/>
                  <a:pt x="9966036" y="0"/>
                </a:cubicBezTo>
                <a:cubicBezTo>
                  <a:pt x="9926011" y="683491"/>
                  <a:pt x="9989126" y="1637914"/>
                  <a:pt x="9947564" y="3066472"/>
                </a:cubicBezTo>
                <a:cubicBezTo>
                  <a:pt x="8021781" y="3100339"/>
                  <a:pt x="5609552" y="3537526"/>
                  <a:pt x="3648364" y="5855854"/>
                </a:cubicBezTo>
                <a:lnTo>
                  <a:pt x="0" y="5865091"/>
                </a:lnTo>
                <a:close/>
              </a:path>
            </a:pathLst>
          </a:custGeom>
        </p:spPr>
        <p:txBody>
          <a:bodyPr rtlCol="0">
            <a:normAutofit/>
          </a:bodyPr>
          <a:lstStyle/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B61B80F-7B99-FB43-B670-9A808C3BCE90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A6EC847-27E3-FA48-82EB-714EB63F84E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802812" y="663698"/>
            <a:ext cx="1944405" cy="206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3576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69E48247-2003-4348-985F-7C91D49937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62840" y="665595"/>
            <a:ext cx="11066320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62840" y="1173016"/>
            <a:ext cx="11066320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0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562840" y="1792431"/>
            <a:ext cx="11066320" cy="3352800"/>
          </a:xfrm>
          <a:prstGeom prst="rect">
            <a:avLst/>
          </a:prstGeom>
        </p:spPr>
        <p:txBody>
          <a:bodyPr/>
          <a:lstStyle>
            <a:lvl1pPr marL="358775" indent="-358775">
              <a:lnSpc>
                <a:spcPct val="190000"/>
              </a:lnSpc>
              <a:buFont typeface="+mj-lt"/>
              <a:buAutoNum type="arabicPeriod"/>
              <a:tabLst/>
              <a:defRPr sz="18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  <a:lvl2pPr>
              <a:defRPr sz="1600"/>
            </a:lvl2pPr>
            <a:lvl3pPr marL="1143000" indent="-228600">
              <a:buFont typeface="Courier New" panose="02070309020205020404" pitchFamily="49" charset="0"/>
              <a:buChar char="o"/>
              <a:defRPr sz="1400"/>
            </a:lvl3pPr>
            <a:lvl4pPr marL="1600200" indent="-228600">
              <a:buFont typeface="System Font Regular"/>
              <a:buChar char="-"/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81965B-F6D9-B143-A714-61B425C4480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F09AF636-0ACF-9D4E-A200-6D6A46F13F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3F783F-11FC-7E4C-BA2B-60A917150F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6531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7ECF2D-909B-8B4F-AEDC-F02C7A3DA2B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3640A38-1622-3D42-8C5F-B352E36401B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6F40A717-82DA-C14A-9EDE-6A5D83954C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2840" y="665595"/>
            <a:ext cx="11066320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C87F9079-E37A-664A-977E-000BA3560E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2840" y="1173016"/>
            <a:ext cx="11066320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0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C4E5ED3D-2DA0-E14D-859D-8AD3E3FE52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432" y="1781907"/>
            <a:ext cx="11083006" cy="3909135"/>
          </a:xfrm>
          <a:prstGeom prst="rect">
            <a:avLst/>
          </a:prstGeom>
        </p:spPr>
        <p:txBody>
          <a:bodyPr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600"/>
            </a:lvl2pPr>
            <a:lvl3pPr marL="1143000" indent="-228600">
              <a:spcBef>
                <a:spcPts val="600"/>
              </a:spcBef>
              <a:buFont typeface="System Font Regular"/>
              <a:buChar char="-"/>
              <a:defRPr sz="1400"/>
            </a:lvl3pPr>
            <a:lvl4pPr marL="1600200" indent="-228600">
              <a:spcBef>
                <a:spcPts val="600"/>
              </a:spcBef>
              <a:buFont typeface="Wingdings" pitchFamily="2" charset="2"/>
              <a:buChar char="§"/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E20246-F9CB-E64D-B144-27CF2278E0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9A12032-94F5-4C9E-9758-E38004FA35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552566" y="6119228"/>
            <a:ext cx="1718074" cy="369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14827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09F3043-83C0-F54D-BA6F-C67F8AEB71E4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0A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9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E9B693E-1935-3040-A951-A544EF873D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45432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45432" y="1173016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0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545432" y="1708150"/>
            <a:ext cx="5348103" cy="4000500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4D283A2-D3C2-6347-BAF2-D4EB2737E25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BD92E70-7C78-D04A-BC02-F90B3BF7B9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29EAA821-1A98-3840-B400-BAE9AD29D34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38967" y="1708150"/>
            <a:ext cx="5348103" cy="4010606"/>
          </a:xfrm>
          <a:prstGeom prst="rect">
            <a:avLst/>
          </a:prstGeom>
        </p:spPr>
        <p:txBody>
          <a:bodyPr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600"/>
            </a:lvl2pPr>
            <a:lvl3pPr marL="1143000" indent="-228600">
              <a:spcBef>
                <a:spcPts val="600"/>
              </a:spcBef>
              <a:buFont typeface="System Font Regular"/>
              <a:buChar char="-"/>
              <a:defRPr sz="1400"/>
            </a:lvl3pPr>
            <a:lvl4pPr marL="1600200" indent="-228600">
              <a:spcBef>
                <a:spcPts val="600"/>
              </a:spcBef>
              <a:buFont typeface="Wingdings" pitchFamily="2" charset="2"/>
              <a:buChar char="§"/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7343CFE-1D53-4B44-9C9E-B425C62B26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9760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338943E3-4F8F-9349-8FA3-BFE03E0AC3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45432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45432" y="1173016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0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GB" noProof="0"/>
              <a:t>Click icon to add picture</a:t>
            </a:r>
            <a:endParaRPr lang="en-US" noProof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4ADE8F1-A877-C040-8CBC-6147933731A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A54FAB3-4FDE-AE4E-A5E7-D629DE5BFB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EE9FBF91-6B13-6440-812F-73B093D355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432" y="1680437"/>
            <a:ext cx="5348103" cy="4010606"/>
          </a:xfrm>
          <a:prstGeom prst="rect">
            <a:avLst/>
          </a:prstGeom>
        </p:spPr>
        <p:txBody>
          <a:bodyPr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600"/>
            </a:lvl2pPr>
            <a:lvl3pPr marL="1143000" indent="-228600">
              <a:spcBef>
                <a:spcPts val="600"/>
              </a:spcBef>
              <a:buFont typeface="System Font Regular"/>
              <a:buChar char="-"/>
              <a:defRPr sz="1400"/>
            </a:lvl3pPr>
            <a:lvl4pPr marL="1600200" indent="-228600">
              <a:spcBef>
                <a:spcPts val="600"/>
              </a:spcBef>
              <a:buFont typeface="Wingdings" pitchFamily="2" charset="2"/>
              <a:buChar char="§"/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450759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 - 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Icon&#10;&#10;Description automatically generated with low confidence">
            <a:extLst>
              <a:ext uri="{FF2B5EF4-FFF2-40B4-BE49-F238E27FC236}">
                <a16:creationId xmlns:a16="http://schemas.microsoft.com/office/drawing/2014/main" id="{8EB70ED4-827C-9847-A915-FFB99588E2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45432" y="665595"/>
            <a:ext cx="10976017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280DFE8-EB44-3C42-A294-D48288F327A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F132E24-6668-6848-B6E3-8EE65F000F2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17AB0A5-CA72-F042-82BA-E7D2FC46F7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5094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 - O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01F3D787-A480-5648-8115-9603DED633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45432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45432" y="1173016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0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43CF7A8-FF25-9C4B-860B-FF98D3972E7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422119B-9FAD-474F-B16D-2F0C107C933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8D7300D0-7DBD-4F4F-9E7F-9CB448134A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432" y="1680437"/>
            <a:ext cx="5348103" cy="4010606"/>
          </a:xfrm>
          <a:prstGeom prst="rect">
            <a:avLst/>
          </a:prstGeom>
        </p:spPr>
        <p:txBody>
          <a:bodyPr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600"/>
            </a:lvl2pPr>
            <a:lvl3pPr marL="1143000" indent="-228600">
              <a:spcBef>
                <a:spcPts val="600"/>
              </a:spcBef>
              <a:buFont typeface="System Font Regular"/>
              <a:buChar char="-"/>
              <a:defRPr sz="1400"/>
            </a:lvl3pPr>
            <a:lvl4pPr marL="1600200" indent="-228600">
              <a:spcBef>
                <a:spcPts val="600"/>
              </a:spcBef>
              <a:buFont typeface="Wingdings" pitchFamily="2" charset="2"/>
              <a:buChar char="§"/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06600D-5593-F84E-9F18-E95D0443F1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7231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 - Pie - 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5282965F-49ED-5641-9681-773DA982EE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45432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45432" y="1173016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0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Chart Placeholder 2"/>
          <p:cNvSpPr>
            <a:spLocks noGrp="1"/>
          </p:cNvSpPr>
          <p:nvPr>
            <p:ph type="chart" sz="quarter" idx="15"/>
          </p:nvPr>
        </p:nvSpPr>
        <p:spPr>
          <a:xfrm>
            <a:off x="6096000" y="657574"/>
            <a:ext cx="6032500" cy="5352268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GB" noProof="0"/>
              <a:t>Click icon to add chart</a:t>
            </a:r>
            <a:endParaRPr lang="en-US" noProof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C989747-92F5-8140-A505-7F4F9157976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9271D5D-9EE1-484B-BDE1-45D84600E8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E16B3A58-864C-E648-B177-18D3242B27D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432" y="1680437"/>
            <a:ext cx="5348103" cy="4010606"/>
          </a:xfrm>
          <a:prstGeom prst="rect">
            <a:avLst/>
          </a:prstGeom>
        </p:spPr>
        <p:txBody>
          <a:bodyPr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600"/>
            </a:lvl2pPr>
            <a:lvl3pPr marL="1143000" indent="-228600">
              <a:spcBef>
                <a:spcPts val="600"/>
              </a:spcBef>
              <a:buFont typeface="System Font Regular"/>
              <a:buChar char="-"/>
              <a:defRPr sz="1400"/>
            </a:lvl3pPr>
            <a:lvl4pPr marL="1600200" indent="-228600">
              <a:spcBef>
                <a:spcPts val="600"/>
              </a:spcBef>
              <a:buFont typeface="Wingdings" pitchFamily="2" charset="2"/>
              <a:buChar char="§"/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136026E-74F1-3642-A800-A1CDF0A353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7777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 - Pie - 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45432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45432" y="1173016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0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2841" y="2562559"/>
            <a:ext cx="2609325" cy="2914775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GB" noProof="0"/>
              <a:t>Click icon to add chart</a:t>
            </a:r>
            <a:endParaRPr lang="en-US" noProof="0"/>
          </a:p>
        </p:txBody>
      </p:sp>
      <p:sp>
        <p:nvSpPr>
          <p:cNvPr id="18" name="Chart Placeholder 2"/>
          <p:cNvSpPr>
            <a:spLocks noGrp="1"/>
          </p:cNvSpPr>
          <p:nvPr>
            <p:ph type="chart" sz="quarter" idx="14"/>
          </p:nvPr>
        </p:nvSpPr>
        <p:spPr>
          <a:xfrm>
            <a:off x="3381839" y="2562559"/>
            <a:ext cx="2609325" cy="2914775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GB" noProof="0"/>
              <a:t>Click icon to add chart</a:t>
            </a:r>
            <a:endParaRPr lang="en-US" noProof="0"/>
          </a:p>
        </p:txBody>
      </p:sp>
      <p:sp>
        <p:nvSpPr>
          <p:cNvPr id="19" name="Chart Placeholder 2"/>
          <p:cNvSpPr>
            <a:spLocks noGrp="1"/>
          </p:cNvSpPr>
          <p:nvPr>
            <p:ph type="chart" sz="quarter" idx="15"/>
          </p:nvPr>
        </p:nvSpPr>
        <p:spPr>
          <a:xfrm>
            <a:off x="6200837" y="2562559"/>
            <a:ext cx="2609325" cy="2914775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GB" noProof="0"/>
              <a:t>Click icon to add chart</a:t>
            </a:r>
            <a:endParaRPr lang="en-US" noProof="0"/>
          </a:p>
        </p:txBody>
      </p:sp>
      <p:sp>
        <p:nvSpPr>
          <p:cNvPr id="20" name="Chart Placeholder 2"/>
          <p:cNvSpPr>
            <a:spLocks noGrp="1"/>
          </p:cNvSpPr>
          <p:nvPr>
            <p:ph type="chart" sz="quarter" idx="16"/>
          </p:nvPr>
        </p:nvSpPr>
        <p:spPr>
          <a:xfrm>
            <a:off x="9019834" y="2562559"/>
            <a:ext cx="2609325" cy="2914775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GB" noProof="0"/>
              <a:t>Click icon to add chart</a:t>
            </a:r>
            <a:endParaRPr lang="en-US" noProof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887B9D8-9116-524B-9C30-84A281B529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630FAE7-B872-4E43-BDA9-4EC29EEC61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EECA96F-2534-BE4E-B9BA-2F4A2BE445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  <p:pic>
        <p:nvPicPr>
          <p:cNvPr id="16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6E2D68AC-CBB8-4241-B1DE-99B56A4470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65914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O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hape, icon&#10;&#10;Description automatically generated">
            <a:extLst>
              <a:ext uri="{FF2B5EF4-FFF2-40B4-BE49-F238E27FC236}">
                <a16:creationId xmlns:a16="http://schemas.microsoft.com/office/drawing/2014/main" id="{60B788F1-06D8-6249-8060-C9013176AA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CA22E85-038E-4F4A-B5C9-15C0402692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75325"/>
            <a:ext cx="31019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6" y="673601"/>
            <a:ext cx="10218737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6" y="1483727"/>
            <a:ext cx="10218737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E77B9DB5-E8AE-B343-A136-C9E11AEB940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D072DE-1320-6A41-9B4D-721E7D412BA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781792" y="6128324"/>
            <a:ext cx="1944405" cy="20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7462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 - Line - 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D1E8EE42-4798-124D-9A20-3813B6858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45432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45432" y="1173016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0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2841" y="1973264"/>
            <a:ext cx="11066320" cy="386919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GB" noProof="0"/>
              <a:t>Click icon to add chart</a:t>
            </a:r>
            <a:endParaRPr lang="en-US" noProof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741176D-39E9-B248-AC8D-5690C9B3A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993FABA-C3AC-604A-AA8A-F2808A1438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0813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 - Line - 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ADD4FC0D-5F8F-D54B-A49B-C6A69E04A6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45432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45432" y="1173016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0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Chart Placeholder 2"/>
          <p:cNvSpPr>
            <a:spLocks noGrp="1"/>
          </p:cNvSpPr>
          <p:nvPr>
            <p:ph type="chart" sz="quarter" idx="15"/>
          </p:nvPr>
        </p:nvSpPr>
        <p:spPr>
          <a:xfrm>
            <a:off x="545432" y="1865558"/>
            <a:ext cx="5348103" cy="394970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GB" noProof="0"/>
              <a:t>Click icon to add chart</a:t>
            </a:r>
            <a:endParaRPr lang="en-US" noProof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AC8F766-7ABA-EF4D-A275-5255F75734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4A1B4E8-EDA2-714E-BBF2-6996DD1D8C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FC02BD69-45CB-FA44-AFA5-DB47CFFCF3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11553" y="1840161"/>
            <a:ext cx="5347369" cy="3975103"/>
          </a:xfrm>
          <a:prstGeom prst="rect">
            <a:avLst/>
          </a:prstGeom>
        </p:spPr>
        <p:txBody>
          <a:bodyPr/>
          <a:lstStyle>
            <a:lvl1pPr marL="358775" indent="-358775">
              <a:lnSpc>
                <a:spcPct val="19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8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600"/>
            </a:lvl2pPr>
            <a:lvl3pPr marL="1143000" indent="-228600">
              <a:spcBef>
                <a:spcPts val="600"/>
              </a:spcBef>
              <a:buFont typeface="System Font Regular"/>
              <a:buChar char="-"/>
              <a:defRPr sz="1400"/>
            </a:lvl3pPr>
            <a:lvl4pPr marL="1600200" indent="-228600">
              <a:spcBef>
                <a:spcPts val="600"/>
              </a:spcBef>
              <a:buFont typeface="Wingdings" pitchFamily="2" charset="2"/>
              <a:buChar char="§"/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498826-0007-8D46-AB75-DEFF3CB4A7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9444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O1">
    <p:bg>
      <p:bgPr>
        <a:solidFill>
          <a:srgbClr val="1E0A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EAC99569-B6C8-A04E-AA0B-EC705B71EB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1E0A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4A0E203-D66E-D149-8BD4-8577F0BA63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56888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56888" y="1173016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200" b="0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921EC1-84C7-6142-9EC8-069DD710C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FCF3C111-F7BE-6A4B-AAF0-615D44DA5F7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0252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O2">
    <p:bg>
      <p:bgPr>
        <a:solidFill>
          <a:srgbClr val="1E0A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hape&#10;&#10;Description automatically generated">
            <a:extLst>
              <a:ext uri="{FF2B5EF4-FFF2-40B4-BE49-F238E27FC236}">
                <a16:creationId xmlns:a16="http://schemas.microsoft.com/office/drawing/2014/main" id="{527459C9-2FA2-EA46-81C4-22C7E6C839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2FDD289-0134-2844-ACFD-C78D843739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56888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56888" y="1173016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200" b="0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BD67AE-E824-014A-91EB-E7A30D5C8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EC9D010B-25E1-D743-81DF-03EA6DC3DA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8716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O3">
    <p:bg>
      <p:bgPr>
        <a:solidFill>
          <a:srgbClr val="1E0A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hape, icon&#10;&#10;Description automatically generated">
            <a:extLst>
              <a:ext uri="{FF2B5EF4-FFF2-40B4-BE49-F238E27FC236}">
                <a16:creationId xmlns:a16="http://schemas.microsoft.com/office/drawing/2014/main" id="{ED55CCAC-013A-094D-9D2B-9BB5CBE8FE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36B2AE6-0EF4-7548-9838-4FADDC1459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56888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56888" y="1173016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200" b="0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32948B-62CB-814E-BAE8-10BED68A0F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2C22441-6F82-324A-A6FF-5144542855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80258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O4">
    <p:bg>
      <p:bgPr>
        <a:solidFill>
          <a:srgbClr val="1E0A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Icon&#10;&#10;Description automatically generated with medium confidence">
            <a:extLst>
              <a:ext uri="{FF2B5EF4-FFF2-40B4-BE49-F238E27FC236}">
                <a16:creationId xmlns:a16="http://schemas.microsoft.com/office/drawing/2014/main" id="{8BDB4214-329A-5B48-973F-0D2E4DF343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BE03345-CDA4-F74D-B9A5-ECEF4C9027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56888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56888" y="1173016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200" b="0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39388A-D7AE-654B-8143-BA011292B0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D7B8AB11-BB63-AB46-BE47-28FD0E2E07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51002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O5">
    <p:bg>
      <p:bgPr>
        <a:solidFill>
          <a:srgbClr val="1E0A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Icon&#10;&#10;Description automatically generated with medium confidence">
            <a:extLst>
              <a:ext uri="{FF2B5EF4-FFF2-40B4-BE49-F238E27FC236}">
                <a16:creationId xmlns:a16="http://schemas.microsoft.com/office/drawing/2014/main" id="{06508A86-0ED4-A349-9C22-35381D1D85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9E78A32-256A-4E45-B9C3-186EBFC8D8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56888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56888" y="1173016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200" b="0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B5EEB4-19F5-0B4A-9699-1D34F0259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0899286-8104-DC4C-B1D0-D98542A9670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0033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4BB3635F-669D-3D41-BE92-90D6D4DC8A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 descr="Shape&#10;&#10;Description automatically generated with medium confidence">
            <a:extLst>
              <a:ext uri="{FF2B5EF4-FFF2-40B4-BE49-F238E27FC236}">
                <a16:creationId xmlns:a16="http://schemas.microsoft.com/office/drawing/2014/main" id="{2CFF8DEF-9490-244A-82B9-09FB8345B0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8" y="-9525"/>
            <a:ext cx="12192000" cy="687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45432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3B8D45-DDB4-3649-B82B-4D4216C3C1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A6C1BDE-8D14-C246-B48D-F8FDA76A18C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5299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O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881A78F5-FF9E-CB48-BCF0-CFB26D1903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 descr="Shape&#10;&#10;Description automatically generated with medium confidence">
            <a:extLst>
              <a:ext uri="{FF2B5EF4-FFF2-40B4-BE49-F238E27FC236}">
                <a16:creationId xmlns:a16="http://schemas.microsoft.com/office/drawing/2014/main" id="{52BF5198-42BA-9549-ADE3-1247016EE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45432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EB14FDE-2335-F348-AA1B-1BA9CF0D71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FCCDF15-B019-2141-BD9B-734E5D9DF50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4590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O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CECACC03-EC15-BE49-8ABB-211BEFB2FF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 descr="Shape&#10;&#10;Description automatically generated with low confidence">
            <a:extLst>
              <a:ext uri="{FF2B5EF4-FFF2-40B4-BE49-F238E27FC236}">
                <a16:creationId xmlns:a16="http://schemas.microsoft.com/office/drawing/2014/main" id="{00053E41-8663-424B-9FAA-A78CCC4B31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45432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AA3E0EC-C298-0F4E-96C3-3A1A07C676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4859951-79EF-2A46-BDFD-68080CDA2A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810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O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Icon&#10;&#10;Description automatically generated with medium confidence">
            <a:extLst>
              <a:ext uri="{FF2B5EF4-FFF2-40B4-BE49-F238E27FC236}">
                <a16:creationId xmlns:a16="http://schemas.microsoft.com/office/drawing/2014/main" id="{B8A11C89-DFF5-0144-9B7B-70EE5BDC0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AFF8CEC-8C3F-324F-AF4E-E273479771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75325"/>
            <a:ext cx="31019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6" y="673601"/>
            <a:ext cx="10218737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6" y="1483727"/>
            <a:ext cx="10218737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3E39889-27A8-E44C-A714-AD30C9D5BA8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3731924-548C-624D-80A6-5CCEC6DDF6D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781792" y="6128324"/>
            <a:ext cx="1944405" cy="20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8092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O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A702C205-CF18-4944-BC03-EC9EA09BFF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 descr="A picture containing shape&#10;&#10;Description automatically generated">
            <a:extLst>
              <a:ext uri="{FF2B5EF4-FFF2-40B4-BE49-F238E27FC236}">
                <a16:creationId xmlns:a16="http://schemas.microsoft.com/office/drawing/2014/main" id="{6E9E3F20-3DE7-5C45-99A9-5FC4C46DDF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45432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AB059F4-F0D0-5842-8D7D-124E91EDF8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53F95F8-13B4-E94A-860C-2A481D009F9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0566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4F80FB4E-43A1-FC43-8727-42F6955B02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 descr="A picture containing icon&#10;&#10;Description automatically generated">
            <a:extLst>
              <a:ext uri="{FF2B5EF4-FFF2-40B4-BE49-F238E27FC236}">
                <a16:creationId xmlns:a16="http://schemas.microsoft.com/office/drawing/2014/main" id="{217013EB-B571-044C-907B-EA6115CAAA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45432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D11A115-670C-BA40-A0A9-3694BD51E0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85238" y="6049963"/>
            <a:ext cx="2743200" cy="365125"/>
          </a:xfr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37616E62-4714-7B4F-AC9E-FB15EC5CB23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1473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- O1">
    <p:bg>
      <p:bgPr>
        <a:solidFill>
          <a:srgbClr val="1E0A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EBA410DE-253B-114E-89EA-7898D0C846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1E0A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E58EC4F-0E41-4446-A803-8909AA9581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5200" y="5768975"/>
            <a:ext cx="3049588" cy="52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56888" y="665595"/>
            <a:ext cx="7883727" cy="1000243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4000" b="1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902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- O2">
    <p:bg>
      <p:bgPr>
        <a:solidFill>
          <a:srgbClr val="1E0A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hape&#10;&#10;Description automatically generated">
            <a:extLst>
              <a:ext uri="{FF2B5EF4-FFF2-40B4-BE49-F238E27FC236}">
                <a16:creationId xmlns:a16="http://schemas.microsoft.com/office/drawing/2014/main" id="{40018225-BDB0-B849-ADFA-C63A0FD2DF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CF289FD-3D7C-C846-BF01-897A750FD5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5200" y="5768975"/>
            <a:ext cx="3049588" cy="52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224C1F2A-B8FD-7B44-8039-9EEC35B773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6888" y="665595"/>
            <a:ext cx="7883727" cy="1000243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4000" b="1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82820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- O3">
    <p:bg>
      <p:bgPr>
        <a:solidFill>
          <a:srgbClr val="1E0A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hape, icon&#10;&#10;Description automatically generated">
            <a:extLst>
              <a:ext uri="{FF2B5EF4-FFF2-40B4-BE49-F238E27FC236}">
                <a16:creationId xmlns:a16="http://schemas.microsoft.com/office/drawing/2014/main" id="{8E9EF2C7-94B9-2F48-AD79-C1E0B23648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1FAE048-50E6-F748-8BE0-4B9890CC9D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5200" y="5768975"/>
            <a:ext cx="3049588" cy="52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9BCEB11C-D97C-7748-94C2-AC9EE82F63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6888" y="665595"/>
            <a:ext cx="7883727" cy="1000243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4000" b="1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687736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- O4">
    <p:bg>
      <p:bgPr>
        <a:solidFill>
          <a:srgbClr val="1E0A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Icon&#10;&#10;Description automatically generated with medium confidence">
            <a:extLst>
              <a:ext uri="{FF2B5EF4-FFF2-40B4-BE49-F238E27FC236}">
                <a16:creationId xmlns:a16="http://schemas.microsoft.com/office/drawing/2014/main" id="{17DB99D2-E96B-CF48-B62D-491710FA76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9519F75-0F3B-4B40-BFED-095E094B7F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5200" y="5768975"/>
            <a:ext cx="3049588" cy="52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C8464C3D-0B53-A740-A467-BF1B30176B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6888" y="665595"/>
            <a:ext cx="7883727" cy="1000243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4000" b="1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88320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- O5">
    <p:bg>
      <p:bgPr>
        <a:solidFill>
          <a:srgbClr val="1E0A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996228F2-4804-9745-991E-1E2CA8CD50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113"/>
            <a:ext cx="12192000" cy="686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9EC11F8C-06B6-1A4E-B627-05DA98FBCE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6888" y="665595"/>
            <a:ext cx="7883727" cy="1000243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4000" b="1" i="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9289A2-0ECC-4DB7-8D72-2211DA75E0D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560388" y="5789801"/>
            <a:ext cx="2729437" cy="586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38432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A8C3B5-B25A-3FBB-7D90-5C956458B2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C9B297-DA13-AA2E-EEC4-ED225AA57E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93D8DA-2687-2FCA-F204-B926C57EF8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0DD65-C206-4613-B485-5FB456CD6513}" type="datetimeFigureOut">
              <a:rPr lang="en-GB" smtClean="0"/>
              <a:t>22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C29BDA-D2E5-EEE5-D7A5-5349850BD8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5F2DDF-7FDF-AA34-7CD5-91B2AE09D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EFFC8-99E9-497B-ADD3-A8CB4CEEE31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34378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572FCF-ADFC-459B-8178-4A0010B261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0897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572FCF-ADFC-459B-8178-4A0010B261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0529ED7-AB8A-4A50-B378-6D0F93AB49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 b="1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4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190C0F90-7473-1443-BE6F-A5BA3B75C5B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716D38C-F77A-2A45-85E9-3167ABB16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3758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3604D12-A4A6-42AD-AB00-8DDC04BB46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2391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3604D12-A4A6-42AD-AB00-8DDC04BB4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EC9D82B-5EB9-490C-9E71-41255655A6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42D1FE8-79BF-9047-B95D-3286F806D46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069E824-FF2D-CA46-ACF6-A25169D366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8352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O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Icon&#10;&#10;Description automatically generated with medium confidence">
            <a:extLst>
              <a:ext uri="{FF2B5EF4-FFF2-40B4-BE49-F238E27FC236}">
                <a16:creationId xmlns:a16="http://schemas.microsoft.com/office/drawing/2014/main" id="{0CEF81AD-689D-5B41-9215-7A1D6AF069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4B142BD-8214-1845-BF09-07C63167A4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75325"/>
            <a:ext cx="31019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6" y="673601"/>
            <a:ext cx="10218737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6" y="1483727"/>
            <a:ext cx="10218737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69F3238-9135-BF40-8208-BC8CDDE060F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D20626C-E554-3944-AAAB-7D289904C19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781792" y="6128324"/>
            <a:ext cx="1944405" cy="20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1141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9853BD1-8595-412B-8B50-85A61DCAA5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2583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9853BD1-8595-412B-8B50-85A61DCAA5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B7045F2-96EE-4227-BFE1-C3151C66C5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87BD2184-6C0D-FE4F-B542-2882B72D83D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1E09787B-9E17-9142-8DDE-A1FE8F3820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3165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9EACEC-7761-4D3F-8F31-13D165525D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7231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9EACEC-7761-4D3F-8F31-13D165525D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EDF5294-0AF8-486F-AD75-643A7F883E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3600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600" b="1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2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FDADE80F-0F45-F94B-9667-E6CAEC4EE6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AD2057C-8AD0-434F-89A2-17AE751663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5728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9E9889-7ACF-4E1A-89F1-1F53275AEB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6840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49E9889-7ACF-4E1A-89F1-1F53275AEB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5991C5-9D8D-46BD-BDA7-341287DF9C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7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3A15802-F1F5-804E-996E-360025C3DB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3498282F-31AA-F640-BFD5-4737E1177E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2F7EE4-4559-034F-843B-8A14919BD4A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3300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5FFB91-A778-4AFA-A3A3-0ECFC2F2A6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1926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5FFB91-A778-4AFA-A3A3-0ECFC2F2A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8416BA8-9010-4D5C-A406-B8373F8C2D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5F283AF-89AC-184A-A172-9F8F517F45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C46603F1-9AD7-4A48-B40A-8615E46B522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2831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80A810-D798-42C6-A52E-06742EF3F5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494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80A810-D798-42C6-A52E-06742EF3F5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B5CA91-001E-40D5-8C10-90CBD0AA5F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7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8FD1BDF-7409-5A40-9D1A-853CA03C59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13C33E0B-9341-1844-9C00-1BB0C47172F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4570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1E2B1C-CD57-4781-9905-6C4C5F24E5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6266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1E2B1C-CD57-4781-9905-6C4C5F24E5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C0E4498-3A88-4FF4-BBC3-75AD4D32A3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1F892D37-6F55-3643-9C56-90ADBC0144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B5274AA-74B3-FC43-8BAA-4161FEB9FB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5699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52C7A3F-E81D-4794-8BEB-7D11C5F7CB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6680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52C7A3F-E81D-4794-8BEB-7D11C5F7CB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072A9A1-11B2-4906-B6BC-B7D2CD9213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="1" baseline="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1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8D22308-441A-DD43-B154-7A422A5718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E03CB35-C5BC-6D42-81F0-ADDE2EBF7B2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68A7442-412F-C642-8433-CE14BD9F20C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8487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2590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552AAC-3452-4A44-A118-7471AB46F2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D485D914-ADE4-E342-B134-D95F5817AD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644DA2C-FB38-DA4D-A96B-79220AEEDA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9771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11C8171-56FC-44EA-AEC3-302B010ADC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3537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11C8171-56FC-44EA-AEC3-302B010AD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FB5CA80-3DEA-47AF-ACAD-DEDE87A9A3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2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B4A0780-97F6-4546-B46A-40FA27EFEB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170EDD69-F28D-D848-9C1C-C99566529C4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6BFFEA9-77AB-E640-A0F3-93DFFBFEE60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5894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99359F-C7FC-4B3F-9261-0C07F5D6D3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7535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99359F-C7FC-4B3F-9261-0C07F5D6D3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A114DB9-D2D0-4936-8FC4-0F6B5240BE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3600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600" b="1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9760F890-5FF5-D04B-A1F3-5D3706F9778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CD48E08-AA35-B843-BD56-534C6CB0C8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5498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25E57A21-7859-CD4B-A493-5770B24D7B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8" y="-9525"/>
            <a:ext cx="12192000" cy="687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Icon&#10;&#10;Description automatically generated with low confidence">
            <a:extLst>
              <a:ext uri="{FF2B5EF4-FFF2-40B4-BE49-F238E27FC236}">
                <a16:creationId xmlns:a16="http://schemas.microsoft.com/office/drawing/2014/main" id="{25DCD3D5-BA6F-E043-B8AA-E152210F1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80088"/>
            <a:ext cx="30765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6" y="673601"/>
            <a:ext cx="10218737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6" y="1483727"/>
            <a:ext cx="10218737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96DCA7B-9F09-7245-A2A8-7C26A43F3A7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37C14C-FFAF-094C-9595-5AA1AA2C1C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781788" y="6128324"/>
            <a:ext cx="1944414" cy="20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360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F2C4DD-F832-4880-BCF8-6DDB8B2940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116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F2C4DD-F832-4880-BCF8-6DDB8B2940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9F6B36-EFCA-4ECA-AFB4-DBD373625D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3600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600" b="1" i="0" u="none" kern="1200" spc="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1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E8B7E3A-A3E3-1145-8817-2C2513E6F0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662BD489-EEDB-FD4D-9C96-549C43B0C46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4B8773F-5BD1-7948-9DAA-E18B072C9B9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8139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6D7304-D04F-4B3A-94A6-2109AD6DFE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9959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6D7304-D04F-4B3A-94A6-2109AD6DFE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C44352-0165-4327-98CB-791ED05E50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3600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600" b="1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69B9C5E3-57C1-8243-8E8C-B84FB57229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48EED4E-EE73-8F4B-93E1-EF9C92400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622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9B77BF-7E62-4E9E-A2AE-43EBB41876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350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9B77BF-7E62-4E9E-A2AE-43EBB4187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067540A-70FC-4CC1-81B6-45F69E4DE7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3600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600" b="1" i="0" u="none" kern="1200" spc="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3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B9BF406-41FA-C040-B0D6-C7896A00FE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C028F27-7794-1F44-9FAD-238537C6414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FC9FBD4-5067-9349-AD40-6E2779A79A7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8416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EBD54F8-50E2-4220-8F91-8A584114C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5598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EBD54F8-50E2-4220-8F91-8A584114C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208D651-CC94-49ED-A7A9-BFDC3450AB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1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EAEFB1A-342F-F149-875C-605C19F4BB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CE8ED4B-5F8D-4A45-AC11-7285092B73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7113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59CC36-855D-4C7A-AF71-41E76B67A7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86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59CC36-855D-4C7A-AF71-41E76B67A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A502109-8108-4DC2-9C6A-63505F96FA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0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BE9A1587-16C4-EF46-BF57-A3FCFBEF5E9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EC0574E-CE80-4143-BE02-AB12C81A79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9907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44196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77CFA04-2312-4E4D-81F2-5FB37368D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8213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73B14F-5505-4339-8ECA-A5106CB81A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4615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73B14F-5505-4339-8ECA-A5106CB81A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215C22A-4203-40D9-9B45-B751236BA3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60099"/>
          </a:xfrm>
        </p:spPr>
        <p:txBody>
          <a:bodyPr/>
          <a:lstStyle>
            <a:lvl1pPr>
              <a:defRPr sz="26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7069B55-635F-0D4F-9329-D646EEF7A7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7D800F6-C5B1-954A-AA20-1146951EB0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9102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BD9E537-A781-4999-9614-F65EBDAF1C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2127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BD9E537-A781-4999-9614-F65EBDAF1C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B6115ED-E9FB-3845-9401-E372B3C8706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6954713-3365-EE48-990B-F8DE1649EF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8140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F17EC7-52DC-4E0A-B92A-C48FBD356A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0035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F17EC7-52DC-4E0A-B92A-C48FBD356A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B3245E4-19E6-4161-BAEB-50EE4B861CC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60099"/>
          </a:xfrm>
        </p:spPr>
        <p:txBody>
          <a:bodyPr/>
          <a:lstStyle>
            <a:lvl1pPr>
              <a:defRPr sz="2600" b="1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36EB753E-6514-B244-AA4C-28A47C2BF2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82D4038-685C-CE4A-BB3A-50758F5F5A4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4486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622325-5CED-49DF-BDD9-71C9BB7899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6001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622325-5CED-49DF-BDD9-71C9BB7899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4DBDC42-131F-479B-82BE-6F41336E7ED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600" b="1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00B6AB8D-F802-864B-B9FD-5185EB10B0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859B6C3-6436-AC47-9584-38A07D47668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9173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O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CF33C645-B695-1747-B313-60687DB1B5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Icon&#10;&#10;Description automatically generated with low confidence">
            <a:extLst>
              <a:ext uri="{FF2B5EF4-FFF2-40B4-BE49-F238E27FC236}">
                <a16:creationId xmlns:a16="http://schemas.microsoft.com/office/drawing/2014/main" id="{577A8A6C-4F7F-5148-9710-86021BB75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80088"/>
            <a:ext cx="30765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6" y="673601"/>
            <a:ext cx="10218737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6" y="1483727"/>
            <a:ext cx="10218737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7990DB1-CCA2-064A-9924-21E912318DA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68602BA-0831-0146-B26E-4AF84CB37F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781788" y="6128324"/>
            <a:ext cx="1944414" cy="20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4651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CFA1F8-CEDF-4815-9003-5632B6713A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56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CFA1F8-CEDF-4815-9003-5632B6713A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459B0D3-B1E8-46B9-8F42-24BCFA834CA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 b="1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F26022B1-D004-0043-BAA8-89CE6D1E68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8E28AF0-C0A8-E543-80D2-2C5CDE14340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3646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E77BC74-501B-4F8A-8DC1-121E5C28C9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8697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E77BC74-501B-4F8A-8DC1-121E5C28C9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8984877-BC75-4BD7-A600-E9429F0D30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600" b="1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050F3409-0A40-A740-AE9C-6DB690904D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BC6E78B-36A7-634A-9C50-D0A0E0894A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183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471DF8-69D1-44D5-8CF6-775292F8D2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9835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471DF8-69D1-44D5-8CF6-775292F8D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891B815-F0F0-4A65-A2DB-030FD1AC9D5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60099"/>
          </a:xfrm>
          <a:prstGeom prst="rect">
            <a:avLst/>
          </a:prstGeom>
        </p:spPr>
        <p:txBody>
          <a:bodyPr/>
          <a:lstStyle>
            <a:lvl1pPr>
              <a:defRPr sz="2600" b="1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BB8A33B6-3361-4A47-A66F-AC920BE6086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C9DA0E1-1155-4E4E-9116-A81F5BD078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6979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198FBA-A94F-4D57-9885-F5901171D1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4490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198FBA-A94F-4D57-9885-F5901171D1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CA6C073-C91C-4BD7-842D-249A9C0D14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60099"/>
          </a:xfrm>
          <a:prstGeom prst="rect">
            <a:avLst/>
          </a:prstGeom>
        </p:spPr>
        <p:txBody>
          <a:bodyPr/>
          <a:lstStyle>
            <a:lvl1pPr>
              <a:defRPr sz="2600" b="1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9BAEF3E2-6FED-7A4E-9873-ED2335DABC9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2F64AAA-869F-CE4E-9A13-8E31644EDC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2729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6FD404D-F621-475A-818E-B90A11A9F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3806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6FD404D-F621-475A-818E-B90A11A9F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46204B7-C0F6-4811-B92D-883247DC67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6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1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88D7914-686C-2A4B-B772-606B3218DEF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EBBC183-2C7C-A543-A627-DC5726317AE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C7958D0-782B-1A43-84CB-C3190E56FFD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4513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30119B-30A4-4C26-85FD-60FD7CD99E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8533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30119B-30A4-4C26-85FD-60FD7CD99E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71144DE-D3CE-4F62-B79D-1989573466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37AB8FD-2AA7-2C47-ACE7-91A4BC5602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D94531F6-24ED-D84E-B72B-01EAC59FC9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5074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A884FA-73D6-4E15-9EAE-9163E23886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577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DA884FA-73D6-4E15-9EAE-9163E23886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F2E7FC6-F49D-4D5A-ACB3-22E3039972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7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42A7904-00D1-1143-A38C-06163B5EC2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8545C5A1-0908-4640-8767-9D5204B07DA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1197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3011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8A851B6-6B1A-4717-9DDA-6BCF372851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600" b="1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E4B5D6DA-F7FC-0843-9CFA-ACD8F44B00F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322CC9F-A137-F645-AAB5-1F1B7AE3A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720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9B078CA-2DD7-4478-B73F-CBE6EBB3FB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2778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9B078CA-2DD7-4478-B73F-CBE6EBB3FB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566D3A3-B251-4F7D-A217-B44CC817E8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2600" b="1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3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9ADD2C0-9AE2-5144-ABC3-71F0AA94695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192546E-9828-0441-9CA0-13F5EA45A7C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A192CC6-33A3-9040-BFAF-2AC162D7E30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5119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BD08D9-97E9-4D22-AAB8-33CAE93A14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5468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BD08D9-97E9-4D22-AAB8-33CAE93A14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6FFC60D-62CE-4069-B620-4377DB2789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EACE34AA-7E0B-1942-87A1-5DC075677A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B76910C-B79F-3E44-A26A-6B74A744C5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7354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O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hape&#10;&#10;Description automatically generated with low confidence">
            <a:extLst>
              <a:ext uri="{FF2B5EF4-FFF2-40B4-BE49-F238E27FC236}">
                <a16:creationId xmlns:a16="http://schemas.microsoft.com/office/drawing/2014/main" id="{0BD5652D-5A8D-3143-8054-E60FA47A7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Icon&#10;&#10;Description automatically generated with low confidence">
            <a:extLst>
              <a:ext uri="{FF2B5EF4-FFF2-40B4-BE49-F238E27FC236}">
                <a16:creationId xmlns:a16="http://schemas.microsoft.com/office/drawing/2014/main" id="{3381731D-B378-9746-9D59-FA1F7688FF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80088"/>
            <a:ext cx="30765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6" y="673601"/>
            <a:ext cx="10218737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6" y="1483727"/>
            <a:ext cx="10218737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28F69497-F7FF-9D4C-A8F8-3D0BB241118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6E7D803-87ED-674C-B545-C646004D060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781788" y="6128324"/>
            <a:ext cx="1944414" cy="20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07382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26B9-D9AE-41D9-B58F-7B89FEBC15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819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26B9-D9AE-41D9-B58F-7B89FEBC1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E29045-875C-44B5-A00C-9F95701F424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0E9ECA8-B553-A147-B0F2-55078FB5DE0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000AA0-790F-974F-9F22-74265426483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3162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A22E6E-6CE4-46BE-A99F-32B818FE1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6549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A22E6E-6CE4-46BE-A99F-32B818FE1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8564717-C1BF-4677-AC3E-736CE31C8E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60099"/>
          </a:xfrm>
          <a:prstGeom prst="rect">
            <a:avLst/>
          </a:prstGeom>
        </p:spPr>
        <p:txBody>
          <a:bodyPr/>
          <a:lstStyle>
            <a:lvl1pPr>
              <a:defRPr sz="2600" b="1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F6551D1D-4F1C-1A4F-8A0C-F0974F28F0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251F270-F9F9-864E-A8AF-33E61CE3C5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8272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46EA24-AA7C-4F7A-80D5-CDFF19F898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2220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46EA24-AA7C-4F7A-80D5-CDFF19F898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5C77CDD-C47C-47CE-963A-2671A79A5A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60099"/>
          </a:xfrm>
          <a:prstGeom prst="rect">
            <a:avLst/>
          </a:prstGeom>
        </p:spPr>
        <p:txBody>
          <a:bodyPr/>
          <a:lstStyle>
            <a:lvl1pPr>
              <a:defRPr sz="2600" b="1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3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DB04941-7C62-1245-A745-CB16821657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34AB812-E20D-B246-9A7D-6C6B583E034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CE13284-54B1-6849-9DED-72FBE5DABF1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5196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2063676-2034-4D4C-B0F6-588848F61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7681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2063676-2034-4D4C-B0F6-588848F61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581C66-5189-4757-B6FA-A5D53BE7B4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60099"/>
          </a:xfrm>
          <a:prstGeom prst="rect">
            <a:avLst/>
          </a:prstGeom>
        </p:spPr>
        <p:txBody>
          <a:bodyPr/>
          <a:lstStyle>
            <a:lvl1pPr>
              <a:defRPr sz="2600" b="1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D5FEF685-948B-0F45-991E-11D53C39AAE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112CD29C-4906-D345-AD4E-5A3EA80BFB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5917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F82594-7147-470D-933F-8A339B756B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903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F82594-7147-470D-933F-8A339B756B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2EDC7FA-188A-41F7-A116-62BA924FDC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60099"/>
          </a:xfrm>
          <a:prstGeom prst="rect">
            <a:avLst/>
          </a:prstGeom>
        </p:spPr>
        <p:txBody>
          <a:bodyPr/>
          <a:lstStyle>
            <a:lvl1pPr>
              <a:defRPr sz="2600" b="1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1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5428386-254D-D742-8325-4253AED96A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24CAA19-7BC4-DB42-BBC6-69C4DBCE8B8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0AC898-84E2-C341-B57F-1ECA3EF965B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8520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34BF7D-43D2-4F37-8082-14A6AD7DC9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052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34BF7D-43D2-4F37-8082-14A6AD7DC9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6D943A1-6686-4BD4-A1FC-574684181B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1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2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32CA9E3-7B75-844C-A76F-07224B95F65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9E78928-6EDA-7441-BC47-0CEF1A36CC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4875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CF0445-CB3F-4745-8BDC-D0AE799FBF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4241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CF0445-CB3F-4745-8BDC-D0AE799FBF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519710F-FFD5-944B-8F4A-B6956C71AE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AD8EF3C-61A6-5F4A-AB2E-55482D82AB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8497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041639-D4EA-406A-893C-B18E64B2FA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5337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D041639-D4EA-406A-893C-B18E64B2FA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DDD648E-0642-684D-8B12-7AE0B5D8441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9738BE5E-9718-8142-A1CF-897546E685F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86598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9863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5A29317-023C-1743-92BE-86F79E1C08A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8095897-E357-F446-BD60-4F9DF8566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7201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6914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rPr>
              <a:t>Agenda</a:t>
            </a:r>
          </a:p>
        </p:txBody>
      </p:sp>
      <p:pic>
        <p:nvPicPr>
          <p:cNvPr id="9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D2A2554-1FFA-7D42-AD25-120E858075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8050"/>
            <a:ext cx="17272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95541CD-422D-8748-A4F3-778B7CBD8AC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B0195CF-9977-7A4E-9507-E2413D5D819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1235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O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shape&#10;&#10;Description automatically generated">
            <a:extLst>
              <a:ext uri="{FF2B5EF4-FFF2-40B4-BE49-F238E27FC236}">
                <a16:creationId xmlns:a16="http://schemas.microsoft.com/office/drawing/2014/main" id="{4E98D873-9F66-984D-8682-0D1BDA67A0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Icon&#10;&#10;Description automatically generated with low confidence">
            <a:extLst>
              <a:ext uri="{FF2B5EF4-FFF2-40B4-BE49-F238E27FC236}">
                <a16:creationId xmlns:a16="http://schemas.microsoft.com/office/drawing/2014/main" id="{FC20ABCC-54A0-AA44-9143-4B1F4FECEA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5780088"/>
            <a:ext cx="30765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1056" y="673601"/>
            <a:ext cx="10218737" cy="7140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52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61056" y="1483727"/>
            <a:ext cx="10218737" cy="44934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50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7A8C101-E3C2-3448-B40B-E30FC589DE6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60388" y="2028825"/>
            <a:ext cx="2743200" cy="365125"/>
          </a:xfrm>
        </p:spPr>
        <p:txBody>
          <a:bodyPr/>
          <a:lstStyle>
            <a:lvl1pPr>
              <a:defRPr baseline="0" dirty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5444FBB-0BDB-D84A-9D60-65E0B2EDAC2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781788" y="6128324"/>
            <a:ext cx="1944414" cy="20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31163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 slide -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835652B-CF85-044A-9D24-6F557A104A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5432" y="665595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Graph slid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C6F3DD9-09CF-4A46-99E2-7D11CCC580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5432" y="1173016"/>
            <a:ext cx="5348103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0" i="0" baseline="0">
                <a:solidFill>
                  <a:srgbClr val="1E0A3C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454DC30-9E9B-254D-8D05-7CFFA44E6BC6}"/>
              </a:ext>
            </a:extLst>
          </p:cNvPr>
          <p:cNvSpPr txBox="1">
            <a:spLocks/>
          </p:cNvSpPr>
          <p:nvPr userDrawn="1"/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 baseline="0">
                <a:solidFill>
                  <a:srgbClr val="59595C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9665D5-1C93-414E-A05D-6E0CBBE7BFA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hart Placeholder 2">
            <a:extLst>
              <a:ext uri="{FF2B5EF4-FFF2-40B4-BE49-F238E27FC236}">
                <a16:creationId xmlns:a16="http://schemas.microsoft.com/office/drawing/2014/main" id="{73C396FC-A1FC-ED4C-A336-D9FB9B7A7AF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62840" y="1973264"/>
            <a:ext cx="11162435" cy="386919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11" name="Picture 10" descr="Icon&#10;&#10;Description automatically generated with low confidence">
            <a:extLst>
              <a:ext uri="{FF2B5EF4-FFF2-40B4-BE49-F238E27FC236}">
                <a16:creationId xmlns:a16="http://schemas.microsoft.com/office/drawing/2014/main" id="{C19D6760-2B57-844B-A03D-8DB608A8DF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863258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D6402B09-4504-2E4F-8EC9-DD1FF6D15A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5432" y="665595"/>
            <a:ext cx="10668577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600" b="1" i="0" baseline="0">
                <a:solidFill>
                  <a:srgbClr val="1E0A3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Text slid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FB42C2-7D97-BA4C-9DCB-BF147E92A2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5432" y="1173016"/>
            <a:ext cx="10668577" cy="461241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0" i="0" baseline="0">
                <a:solidFill>
                  <a:srgbClr val="1E0A3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0CC8C8-3FFE-BA40-902A-D27F7F3F51A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59665D5-1C93-414E-A05D-6E0CBBE7BFA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601CDDED-D8E1-7F46-B1FD-3FDCD27CA3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2840" y="1792430"/>
            <a:ext cx="10651169" cy="3892553"/>
          </a:xfrm>
          <a:prstGeom prst="rect">
            <a:avLst/>
          </a:prstGeom>
        </p:spPr>
        <p:txBody>
          <a:bodyPr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aseline="0">
                <a:solidFill>
                  <a:srgbClr val="59595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ts val="600"/>
              </a:spcBef>
              <a:buFont typeface="System Font Regular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ts val="600"/>
              </a:spcBef>
              <a:buFont typeface="Wingdings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pic>
        <p:nvPicPr>
          <p:cNvPr id="7" name="Picture 6" descr="Icon&#10;&#10;Description automatically generated with low confidence">
            <a:extLst>
              <a:ext uri="{FF2B5EF4-FFF2-40B4-BE49-F238E27FC236}">
                <a16:creationId xmlns:a16="http://schemas.microsoft.com/office/drawing/2014/main" id="{E8664048-9E5C-834C-9036-F0D12AF502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3" y="5986463"/>
            <a:ext cx="17319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060925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rPr>
              <a:t>Agend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95541CD-422D-8748-A4F3-778B7CBD8AC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885960" y="600984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 baseline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 algn="r"/>
            <a:fld id="{459665D5-1C93-414E-A05D-6E0CBBE7BFA2}" type="slidenum">
              <a:rPr lang="en-US" smtClean="0"/>
              <a:pPr algn="r"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36D87FE-1264-C84D-8DC3-0D0CFD00D5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/>
          <a:srcRect/>
          <a:stretch/>
        </p:blipFill>
        <p:spPr bwMode="auto">
          <a:xfrm>
            <a:off x="552566" y="6119228"/>
            <a:ext cx="1718074" cy="369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B1A24F1-FB5F-C543-9682-73FD4344C3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0316" y="495557"/>
            <a:ext cx="523430" cy="480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7616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9.xml"/><Relationship Id="rId47" Type="http://schemas.openxmlformats.org/officeDocument/2006/relationships/tags" Target="../tags/tag2.xml"/><Relationship Id="rId50" Type="http://schemas.openxmlformats.org/officeDocument/2006/relationships/image" Target="../media/image17.png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theme" Target="../theme/theme2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49" Type="http://schemas.openxmlformats.org/officeDocument/2006/relationships/image" Target="../media/image20.emf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4" Type="http://schemas.openxmlformats.org/officeDocument/2006/relationships/slideLayout" Target="../slideLayouts/slideLayout91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slideLayout" Target="../slideLayouts/slideLayout90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tags" Target="../tags/tag1.xml"/><Relationship Id="rId20" Type="http://schemas.openxmlformats.org/officeDocument/2006/relationships/slideLayout" Target="../slideLayouts/slideLayout67.xml"/><Relationship Id="rId41" Type="http://schemas.openxmlformats.org/officeDocument/2006/relationships/slideLayout" Target="../slideLayouts/slideLayout88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17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44.bin"/><Relationship Id="rId4" Type="http://schemas.openxmlformats.org/officeDocument/2006/relationships/tags" Target="../tags/tag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7C895543-E817-5D4D-8CFF-C7FE95491ED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  <a:endParaRPr lang="en-US" altLang="en-US"/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C832E1F0-A13D-9D48-9D62-62BE470DBF7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  <a:endParaRPr lang="en-US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CC367B-7201-174F-89C5-A9A3DACD6D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baseline="0" smtClean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8AA4E73-D575-D64E-9BBC-1599701A929E}" type="datetimeFigureOut">
              <a:rPr lang="en-US"/>
              <a:pPr>
                <a:defRPr/>
              </a:pPr>
              <a:t>2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42564C-C61A-0A48-A21A-A22AD274B2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 baseline="0" dirty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EB9B69-0380-B44E-941D-8E00CCDC4D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aseline="0" smtClean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A79AF64-F14B-9E4E-ABB2-0FE8C6BFC3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62" r:id="rId20"/>
    <p:sldLayoutId id="2147483763" r:id="rId21"/>
    <p:sldLayoutId id="2147483764" r:id="rId22"/>
    <p:sldLayoutId id="2147483765" r:id="rId23"/>
    <p:sldLayoutId id="2147483766" r:id="rId24"/>
    <p:sldLayoutId id="2147483767" r:id="rId25"/>
    <p:sldLayoutId id="2147483768" r:id="rId26"/>
    <p:sldLayoutId id="2147483770" r:id="rId27"/>
    <p:sldLayoutId id="2147483771" r:id="rId28"/>
    <p:sldLayoutId id="2147483772" r:id="rId29"/>
    <p:sldLayoutId id="2147483773" r:id="rId30"/>
    <p:sldLayoutId id="2147483774" r:id="rId31"/>
    <p:sldLayoutId id="2147483775" r:id="rId32"/>
    <p:sldLayoutId id="2147483776" r:id="rId33"/>
    <p:sldLayoutId id="2147483777" r:id="rId34"/>
    <p:sldLayoutId id="2147483778" r:id="rId35"/>
    <p:sldLayoutId id="2147483779" r:id="rId36"/>
    <p:sldLayoutId id="2147483780" r:id="rId37"/>
    <p:sldLayoutId id="2147483781" r:id="rId38"/>
    <p:sldLayoutId id="2147483782" r:id="rId39"/>
    <p:sldLayoutId id="2147483783" r:id="rId40"/>
    <p:sldLayoutId id="2147483784" r:id="rId41"/>
    <p:sldLayoutId id="2147483785" r:id="rId42"/>
    <p:sldLayoutId id="2147483786" r:id="rId43"/>
    <p:sldLayoutId id="2147483787" r:id="rId44"/>
    <p:sldLayoutId id="2147483788" r:id="rId45"/>
    <p:sldLayoutId id="2147483789" r:id="rId46"/>
    <p:sldLayoutId id="2147483864" r:id="rId47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4022206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270" imgH="270" progId="TCLayout.ActiveDocument.1">
                  <p:embed/>
                </p:oleObj>
              </mc:Choice>
              <mc:Fallback>
                <p:oleObj name="think-cell Slide" r:id="rId4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5198AD-E731-4421-AAAB-F270BC89F28B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600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E2CEFFD-872B-F74A-99DD-C30BFF77A1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F04885C-62E4-F240-AB8D-D78C53C6EB5D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000" y="590113"/>
            <a:ext cx="584200" cy="53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253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  <p:sldLayoutId id="2147483815" r:id="rId19"/>
    <p:sldLayoutId id="2147483817" r:id="rId20"/>
    <p:sldLayoutId id="2147483824" r:id="rId21"/>
    <p:sldLayoutId id="2147483826" r:id="rId22"/>
    <p:sldLayoutId id="2147483828" r:id="rId23"/>
    <p:sldLayoutId id="2147483829" r:id="rId24"/>
    <p:sldLayoutId id="2147483830" r:id="rId25"/>
    <p:sldLayoutId id="2147483831" r:id="rId26"/>
    <p:sldLayoutId id="2147483832" r:id="rId27"/>
    <p:sldLayoutId id="2147483833" r:id="rId28"/>
    <p:sldLayoutId id="2147483834" r:id="rId29"/>
    <p:sldLayoutId id="2147483835" r:id="rId30"/>
    <p:sldLayoutId id="2147483836" r:id="rId31"/>
    <p:sldLayoutId id="2147483837" r:id="rId32"/>
    <p:sldLayoutId id="2147483838" r:id="rId33"/>
    <p:sldLayoutId id="2147483839" r:id="rId34"/>
    <p:sldLayoutId id="2147483840" r:id="rId35"/>
    <p:sldLayoutId id="2147483841" r:id="rId36"/>
    <p:sldLayoutId id="2147483842" r:id="rId37"/>
    <p:sldLayoutId id="2147483843" r:id="rId38"/>
    <p:sldLayoutId id="2147483848" r:id="rId39"/>
    <p:sldLayoutId id="2147483849" r:id="rId40"/>
    <p:sldLayoutId id="2147483855" r:id="rId41"/>
    <p:sldLayoutId id="2147483856" r:id="rId42"/>
    <p:sldLayoutId id="2147483862" r:id="rId43"/>
    <p:sldLayoutId id="2147483863" r:id="rId44"/>
  </p:sldLayoutIdLst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5198AD-E731-4421-AAAB-F270BC89F28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600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E2CEFFD-872B-F74A-99DD-C30BFF77A1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85238" y="604996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900" baseline="0" smtClean="0">
                <a:solidFill>
                  <a:srgbClr val="59595C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57A7B62-39C9-3E41-9875-1958963E06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B941CF7-1EBC-A94D-8A06-E2B1470B0B9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0316" y="495557"/>
            <a:ext cx="523430" cy="480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640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</p:sldLayoutIdLst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Calibri" panose="020F050202020403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46.jpeg"/><Relationship Id="rId4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46.jpeg"/><Relationship Id="rId4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26" Type="http://schemas.openxmlformats.org/officeDocument/2006/relationships/tags" Target="../tags/tag109.xml"/><Relationship Id="rId3" Type="http://schemas.openxmlformats.org/officeDocument/2006/relationships/tags" Target="../tags/tag86.xml"/><Relationship Id="rId21" Type="http://schemas.openxmlformats.org/officeDocument/2006/relationships/tags" Target="../tags/tag104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tags" Target="../tags/tag108.xml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29" Type="http://schemas.openxmlformats.org/officeDocument/2006/relationships/image" Target="../media/image28.emf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tags" Target="../tags/tag107.xml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23" Type="http://schemas.openxmlformats.org/officeDocument/2006/relationships/tags" Target="../tags/tag106.xml"/><Relationship Id="rId28" Type="http://schemas.openxmlformats.org/officeDocument/2006/relationships/slideLayout" Target="../slideLayouts/slideLayout92.xml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Relationship Id="rId27" Type="http://schemas.openxmlformats.org/officeDocument/2006/relationships/tags" Target="../tags/tag110.xml"/><Relationship Id="rId30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7999EA-4895-FB4F-A34B-9A5DA6F686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1056" y="673601"/>
            <a:ext cx="10967524" cy="714041"/>
          </a:xfrm>
        </p:spPr>
        <p:txBody>
          <a:bodyPr/>
          <a:lstStyle/>
          <a:p>
            <a:r>
              <a:rPr lang="en-US" sz="4400">
                <a:latin typeface="Arial"/>
                <a:cs typeface="Arial"/>
                <a:sym typeface="Calibri" panose="020F0502020204030204" pitchFamily="34" charset="0"/>
              </a:rPr>
              <a:t>Demand Forecasting &amp; Inventory Management</a:t>
            </a:r>
          </a:p>
        </p:txBody>
      </p:sp>
      <p:sp>
        <p:nvSpPr>
          <p:cNvPr id="50178" name="Text Placeholder 2">
            <a:extLst>
              <a:ext uri="{FF2B5EF4-FFF2-40B4-BE49-F238E27FC236}">
                <a16:creationId xmlns:a16="http://schemas.microsoft.com/office/drawing/2014/main" id="{00E5ADCE-CDF1-184F-AB0B-828906BFC835}"/>
              </a:ext>
            </a:extLst>
          </p:cNvPr>
          <p:cNvSpPr>
            <a:spLocks noGrp="1" noChangeArrowheads="1"/>
          </p:cNvSpPr>
          <p:nvPr>
            <p:ph type="body" sz="quarter" idx="14"/>
          </p:nvPr>
        </p:nvSpPr>
        <p:spPr>
          <a:xfrm>
            <a:off x="561056" y="2111888"/>
            <a:ext cx="11213254" cy="449347"/>
          </a:xfrm>
        </p:spPr>
        <p:txBody>
          <a:bodyPr/>
          <a:lstStyle/>
          <a:p>
            <a:r>
              <a:rPr lang="en-US">
                <a:ea typeface="DejaVu Serif Condensed" panose="02060606050605020204" pitchFamily="18" charset="0"/>
                <a:cs typeface="Arial" panose="020B0604020202020204" pitchFamily="34" charset="0"/>
                <a:sym typeface="Calibri" panose="020F0502020204030204" pitchFamily="34" charset="0"/>
              </a:rPr>
              <a:t>22</a:t>
            </a:r>
            <a:r>
              <a:rPr lang="en-US" baseline="30000">
                <a:ea typeface="DejaVu Serif Condensed" panose="02060606050605020204" pitchFamily="18" charset="0"/>
                <a:cs typeface="Arial" panose="020B0604020202020204" pitchFamily="34" charset="0"/>
                <a:sym typeface="Calibri" panose="020F0502020204030204" pitchFamily="34" charset="0"/>
              </a:rPr>
              <a:t>nd</a:t>
            </a:r>
            <a:r>
              <a:rPr lang="en-US">
                <a:ea typeface="DejaVu Serif Condensed" panose="02060606050605020204" pitchFamily="18" charset="0"/>
                <a:cs typeface="Arial" panose="020B0604020202020204" pitchFamily="34" charset="0"/>
                <a:sym typeface="Calibri" panose="020F0502020204030204" pitchFamily="34" charset="0"/>
              </a:rPr>
              <a:t> Feb’2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F95D5B-36FC-BCEE-2A52-65E4C2B57FAB}"/>
              </a:ext>
            </a:extLst>
          </p:cNvPr>
          <p:cNvSpPr txBox="1"/>
          <p:nvPr/>
        </p:nvSpPr>
        <p:spPr>
          <a:xfrm>
            <a:off x="8839200" y="6095694"/>
            <a:ext cx="32472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>
                <a:solidFill>
                  <a:schemeClr val="bg1"/>
                </a:solidFill>
                <a:latin typeface="+mj-lt"/>
                <a:ea typeface="DejaVu Serif Condensed" panose="02060606050605020204" pitchFamily="18" charset="0"/>
                <a:cs typeface="Arial" panose="020B0604020202020204" pitchFamily="34" charset="0"/>
                <a:sym typeface="Calibri" panose="020F0502020204030204" pitchFamily="34" charset="0"/>
              </a:rPr>
              <a:t>- Siddhartha Paul</a:t>
            </a:r>
          </a:p>
          <a:p>
            <a:pPr algn="r"/>
            <a:r>
              <a:rPr lang="en-US">
                <a:solidFill>
                  <a:schemeClr val="bg1"/>
                </a:solidFill>
                <a:latin typeface="+mj-lt"/>
                <a:ea typeface="DejaVu Serif Condensed" panose="02060606050605020204" pitchFamily="18" charset="0"/>
                <a:cs typeface="Arial" panose="020B0604020202020204" pitchFamily="34" charset="0"/>
                <a:sym typeface="Calibri" panose="020F0502020204030204" pitchFamily="34" charset="0"/>
              </a:rPr>
              <a:t>- Deepak Varier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8D0DE0-522F-29B0-8202-964439F707B1}"/>
              </a:ext>
            </a:extLst>
          </p:cNvPr>
          <p:cNvSpPr txBox="1">
            <a:spLocks/>
          </p:cNvSpPr>
          <p:nvPr/>
        </p:nvSpPr>
        <p:spPr>
          <a:xfrm>
            <a:off x="510271" y="459609"/>
            <a:ext cx="10933350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MODELLING &amp; </a:t>
            </a:r>
            <a:r>
              <a:rPr lang="en-IN">
                <a:solidFill>
                  <a:schemeClr val="accent1">
                    <a:lumMod val="75000"/>
                  </a:schemeClr>
                </a:solidFill>
              </a:rPr>
              <a:t>PREDICTIONS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0B52AE05-92C3-17AD-2279-8A4131D3CC69}"/>
              </a:ext>
            </a:extLst>
          </p:cNvPr>
          <p:cNvSpPr/>
          <p:nvPr/>
        </p:nvSpPr>
        <p:spPr>
          <a:xfrm>
            <a:off x="2731767" y="1362667"/>
            <a:ext cx="3240912" cy="590309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SELECTION OF MODEL</a:t>
            </a: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C4C2F276-C362-0976-73F7-F28CE551C8A5}"/>
              </a:ext>
            </a:extLst>
          </p:cNvPr>
          <p:cNvSpPr/>
          <p:nvPr/>
        </p:nvSpPr>
        <p:spPr>
          <a:xfrm>
            <a:off x="5719964" y="1362666"/>
            <a:ext cx="3240912" cy="590309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PREDIC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137D2D7-DE4A-6BB3-1ABC-85F7C8B05BFA}"/>
              </a:ext>
            </a:extLst>
          </p:cNvPr>
          <p:cNvSpPr txBox="1"/>
          <p:nvPr/>
        </p:nvSpPr>
        <p:spPr>
          <a:xfrm>
            <a:off x="510126" y="2705451"/>
            <a:ext cx="555466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400" b="1">
                <a:latin typeface="+mj-lt"/>
              </a:rPr>
              <a:t>RMSE: Avg. magnitude of err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 i="0">
                <a:solidFill>
                  <a:srgbClr val="0D0D0D"/>
                </a:solidFill>
                <a:effectLst/>
                <a:latin typeface="+mj-lt"/>
              </a:rPr>
              <a:t>Sensitive to large errors</a:t>
            </a:r>
            <a:r>
              <a:rPr lang="en-GB" sz="1400" b="0" i="0">
                <a:solidFill>
                  <a:srgbClr val="0D0D0D"/>
                </a:solidFill>
                <a:effectLst/>
                <a:latin typeface="+mj-lt"/>
              </a:rPr>
              <a:t>, therefore, useful for identifying outliers in the forecast.</a:t>
            </a:r>
            <a:endParaRPr lang="en-IN" sz="1400" b="1" i="0">
              <a:solidFill>
                <a:srgbClr val="0D0D0D"/>
              </a:solidFill>
              <a:effectLst/>
              <a:latin typeface="+mj-lt"/>
            </a:endParaRPr>
          </a:p>
          <a:p>
            <a:endParaRPr lang="en-IN" sz="1400">
              <a:latin typeface="+mj-lt"/>
            </a:endParaRPr>
          </a:p>
          <a:p>
            <a:r>
              <a:rPr lang="en-IN" sz="1400" u="sng">
                <a:latin typeface="+mj-lt"/>
              </a:rPr>
              <a:t>Interpretation</a:t>
            </a:r>
            <a:r>
              <a:rPr lang="en-IN" sz="1400">
                <a:latin typeface="+mj-lt"/>
              </a:rPr>
              <a:t>: A lower RMSE indicates that the model's predictions are closer to the actual values</a:t>
            </a:r>
            <a:endParaRPr lang="en-US" sz="1400">
              <a:latin typeface="+mj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32A5408-1E20-0B75-B55B-4BD83D4F910E}"/>
              </a:ext>
            </a:extLst>
          </p:cNvPr>
          <p:cNvSpPr txBox="1"/>
          <p:nvPr/>
        </p:nvSpPr>
        <p:spPr>
          <a:xfrm>
            <a:off x="466498" y="4415879"/>
            <a:ext cx="5554663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400" b="1">
                <a:latin typeface="+mj-lt"/>
              </a:rPr>
              <a:t>Accuracy = 1 – MAPE: Percentage err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Indicates accuracy in terms of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Asymmetry in Handling overestimation and underesti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Insensitive to error magnitu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>
              <a:latin typeface="+mj-lt"/>
            </a:endParaRPr>
          </a:p>
          <a:p>
            <a:r>
              <a:rPr lang="en-IN" sz="1400" u="sng">
                <a:latin typeface="+mj-lt"/>
              </a:rPr>
              <a:t>Interpretation</a:t>
            </a:r>
            <a:r>
              <a:rPr lang="en-IN" sz="1400">
                <a:latin typeface="+mj-lt"/>
              </a:rPr>
              <a:t>: A higher Accuracy indicates that the model's predictions are closer to the actual values</a:t>
            </a:r>
            <a:endParaRPr lang="en-US" sz="1400">
              <a:latin typeface="+mj-lt"/>
            </a:endParaRPr>
          </a:p>
        </p:txBody>
      </p:sp>
      <p:pic>
        <p:nvPicPr>
          <p:cNvPr id="23" name="Picture 22" descr="A table with numbers and text&#10;&#10;Description automatically generated">
            <a:extLst>
              <a:ext uri="{FF2B5EF4-FFF2-40B4-BE49-F238E27FC236}">
                <a16:creationId xmlns:a16="http://schemas.microsoft.com/office/drawing/2014/main" id="{012285AE-2DDB-3692-079F-C2FFA4C3A9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7213" y="2681651"/>
            <a:ext cx="5880100" cy="2146300"/>
          </a:xfrm>
          <a:prstGeom prst="rect">
            <a:avLst/>
          </a:prstGeom>
        </p:spPr>
      </p:pic>
      <p:sp>
        <p:nvSpPr>
          <p:cNvPr id="25" name="Google Shape;521;p3">
            <a:extLst>
              <a:ext uri="{FF2B5EF4-FFF2-40B4-BE49-F238E27FC236}">
                <a16:creationId xmlns:a16="http://schemas.microsoft.com/office/drawing/2014/main" id="{6BBF5667-5F94-129F-1DF2-9131AB4F1DDA}"/>
              </a:ext>
            </a:extLst>
          </p:cNvPr>
          <p:cNvSpPr/>
          <p:nvPr/>
        </p:nvSpPr>
        <p:spPr>
          <a:xfrm>
            <a:off x="380369" y="2036846"/>
            <a:ext cx="10679190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i="1">
                <a:latin typeface="+mj-lt"/>
                <a:ea typeface="Trebuchet MS"/>
                <a:cs typeface="Trebuchet MS"/>
                <a:sym typeface="Trebuchet MS"/>
              </a:rPr>
              <a:t>Evaluated the models using RMSE (root mean squared error) and MAPE (Mean absolute percentage error) and </a:t>
            </a:r>
            <a:r>
              <a:rPr lang="en-GB" sz="1600" b="1" i="1">
                <a:solidFill>
                  <a:srgbClr val="00B050"/>
                </a:solidFill>
                <a:latin typeface="+mj-lt"/>
                <a:ea typeface="Trebuchet MS"/>
                <a:cs typeface="Trebuchet MS"/>
                <a:sym typeface="Trebuchet MS"/>
              </a:rPr>
              <a:t>selected the model with lower RMSE</a:t>
            </a:r>
            <a:endParaRPr sz="1600" b="1" i="1">
              <a:solidFill>
                <a:srgbClr val="00B050"/>
              </a:solidFill>
              <a:latin typeface="+mj-lt"/>
              <a:ea typeface="Trebuchet MS"/>
              <a:cs typeface="Trebuchet MS"/>
              <a:sym typeface="Trebuchet M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30A626E-57B0-E54A-55F6-B44E6D563DE8}"/>
              </a:ext>
            </a:extLst>
          </p:cNvPr>
          <p:cNvSpPr/>
          <p:nvPr/>
        </p:nvSpPr>
        <p:spPr>
          <a:xfrm>
            <a:off x="7258756" y="3250514"/>
            <a:ext cx="1840088" cy="1551487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481658F-3FCB-7C57-AED8-95FE61BFE1F9}"/>
              </a:ext>
            </a:extLst>
          </p:cNvPr>
          <p:cNvSpPr/>
          <p:nvPr/>
        </p:nvSpPr>
        <p:spPr>
          <a:xfrm>
            <a:off x="7503411" y="4802001"/>
            <a:ext cx="1350778" cy="5007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i="0">
                <a:solidFill>
                  <a:schemeClr val="accent1">
                    <a:lumMod val="75000"/>
                  </a:schemeClr>
                </a:solidFill>
                <a:effectLst/>
                <a:latin typeface="+mj-lt"/>
              </a:rPr>
              <a:t>SELECTED*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50142D3-B33F-8DE5-5B92-D3C1D9DDB966}"/>
              </a:ext>
            </a:extLst>
          </p:cNvPr>
          <p:cNvSpPr txBox="1"/>
          <p:nvPr/>
        </p:nvSpPr>
        <p:spPr>
          <a:xfrm>
            <a:off x="7585024" y="5194910"/>
            <a:ext cx="1641565" cy="21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00" i="1">
                <a:latin typeface="+mj-lt"/>
              </a:rPr>
              <a:t>*For the selected </a:t>
            </a:r>
            <a:r>
              <a:rPr lang="en-GB" sz="800" i="1" err="1">
                <a:latin typeface="+mj-lt"/>
              </a:rPr>
              <a:t>sku</a:t>
            </a:r>
            <a:r>
              <a:rPr lang="en-GB" sz="800" i="1">
                <a:latin typeface="+mj-lt"/>
              </a:rPr>
              <a:t> and stor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6FFBC0-B211-6272-52E3-7BF7E249170F}"/>
              </a:ext>
            </a:extLst>
          </p:cNvPr>
          <p:cNvSpPr/>
          <p:nvPr/>
        </p:nvSpPr>
        <p:spPr>
          <a:xfrm>
            <a:off x="380369" y="2621581"/>
            <a:ext cx="5554663" cy="161483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E2CF6EF-2FFF-93BC-FCB3-DE92A89A530F}"/>
              </a:ext>
            </a:extLst>
          </p:cNvPr>
          <p:cNvSpPr/>
          <p:nvPr/>
        </p:nvSpPr>
        <p:spPr>
          <a:xfrm>
            <a:off x="380368" y="4332375"/>
            <a:ext cx="5554663" cy="161483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Google Shape;507;p3">
            <a:extLst>
              <a:ext uri="{FF2B5EF4-FFF2-40B4-BE49-F238E27FC236}">
                <a16:creationId xmlns:a16="http://schemas.microsoft.com/office/drawing/2014/main" id="{A0EB121D-AFEB-DC76-C2E5-F19BB743C540}"/>
              </a:ext>
            </a:extLst>
          </p:cNvPr>
          <p:cNvSpPr/>
          <p:nvPr/>
        </p:nvSpPr>
        <p:spPr>
          <a:xfrm>
            <a:off x="5966243" y="4099336"/>
            <a:ext cx="195732" cy="208271"/>
          </a:xfrm>
          <a:custGeom>
            <a:avLst/>
            <a:gdLst/>
            <a:ahLst/>
            <a:cxnLst/>
            <a:rect l="l" t="t" r="r" b="b"/>
            <a:pathLst>
              <a:path w="21" h="20" extrusionOk="0">
                <a:moveTo>
                  <a:pt x="12" y="2"/>
                </a:moveTo>
                <a:cubicBezTo>
                  <a:pt x="12" y="2"/>
                  <a:pt x="12" y="2"/>
                  <a:pt x="12" y="2"/>
                </a:cubicBezTo>
                <a:cubicBezTo>
                  <a:pt x="9" y="0"/>
                  <a:pt x="4" y="3"/>
                  <a:pt x="2" y="7"/>
                </a:cubicBezTo>
                <a:cubicBezTo>
                  <a:pt x="0" y="11"/>
                  <a:pt x="2" y="16"/>
                  <a:pt x="7" y="18"/>
                </a:cubicBezTo>
                <a:cubicBezTo>
                  <a:pt x="11" y="20"/>
                  <a:pt x="15" y="19"/>
                  <a:pt x="18" y="15"/>
                </a:cubicBezTo>
                <a:cubicBezTo>
                  <a:pt x="21" y="11"/>
                  <a:pt x="18" y="3"/>
                  <a:pt x="12" y="2"/>
                </a:cubicBezTo>
                <a:close/>
                <a:moveTo>
                  <a:pt x="17" y="14"/>
                </a:moveTo>
                <a:cubicBezTo>
                  <a:pt x="15" y="17"/>
                  <a:pt x="12" y="18"/>
                  <a:pt x="9" y="18"/>
                </a:cubicBezTo>
                <a:cubicBezTo>
                  <a:pt x="5" y="17"/>
                  <a:pt x="3" y="14"/>
                  <a:pt x="2" y="10"/>
                </a:cubicBezTo>
                <a:cubicBezTo>
                  <a:pt x="2" y="7"/>
                  <a:pt x="4" y="5"/>
                  <a:pt x="6" y="4"/>
                </a:cubicBezTo>
                <a:cubicBezTo>
                  <a:pt x="8" y="2"/>
                  <a:pt x="11" y="2"/>
                  <a:pt x="13" y="4"/>
                </a:cubicBezTo>
                <a:cubicBezTo>
                  <a:pt x="14" y="4"/>
                  <a:pt x="14" y="4"/>
                  <a:pt x="14" y="4"/>
                </a:cubicBezTo>
                <a:cubicBezTo>
                  <a:pt x="13" y="4"/>
                  <a:pt x="13" y="4"/>
                  <a:pt x="13" y="4"/>
                </a:cubicBezTo>
                <a:cubicBezTo>
                  <a:pt x="15" y="5"/>
                  <a:pt x="16" y="6"/>
                  <a:pt x="17" y="8"/>
                </a:cubicBezTo>
                <a:cubicBezTo>
                  <a:pt x="18" y="10"/>
                  <a:pt x="18" y="12"/>
                  <a:pt x="17" y="14"/>
                </a:cubicBezTo>
                <a:close/>
              </a:path>
            </a:pathLst>
          </a:custGeom>
          <a:solidFill>
            <a:srgbClr val="747678"/>
          </a:solidFill>
          <a:ln>
            <a:noFill/>
          </a:ln>
        </p:spPr>
        <p:txBody>
          <a:bodyPr spcFirstLastPara="1" wrap="square" lIns="74275" tIns="37125" rIns="74275" bIns="371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63">
              <a:solidFill>
                <a:srgbClr val="00000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32" name="Google Shape;508;p3">
            <a:extLst>
              <a:ext uri="{FF2B5EF4-FFF2-40B4-BE49-F238E27FC236}">
                <a16:creationId xmlns:a16="http://schemas.microsoft.com/office/drawing/2014/main" id="{C1AC3055-0A4C-A567-14BD-5D0C41518D75}"/>
              </a:ext>
            </a:extLst>
          </p:cNvPr>
          <p:cNvSpPr/>
          <p:nvPr/>
        </p:nvSpPr>
        <p:spPr>
          <a:xfrm>
            <a:off x="6455966" y="4611844"/>
            <a:ext cx="140927" cy="134506"/>
          </a:xfrm>
          <a:custGeom>
            <a:avLst/>
            <a:gdLst/>
            <a:ahLst/>
            <a:cxnLst/>
            <a:rect l="l" t="t" r="r" b="b"/>
            <a:pathLst>
              <a:path w="15" h="13" extrusionOk="0">
                <a:moveTo>
                  <a:pt x="9" y="2"/>
                </a:moveTo>
                <a:cubicBezTo>
                  <a:pt x="9" y="2"/>
                  <a:pt x="9" y="2"/>
                  <a:pt x="9" y="2"/>
                </a:cubicBezTo>
                <a:cubicBezTo>
                  <a:pt x="10" y="3"/>
                  <a:pt x="12" y="4"/>
                  <a:pt x="12" y="6"/>
                </a:cubicBezTo>
                <a:cubicBezTo>
                  <a:pt x="13" y="7"/>
                  <a:pt x="12" y="10"/>
                  <a:pt x="10" y="11"/>
                </a:cubicBezTo>
                <a:cubicBezTo>
                  <a:pt x="8" y="12"/>
                  <a:pt x="6" y="11"/>
                  <a:pt x="4" y="10"/>
                </a:cubicBezTo>
                <a:cubicBezTo>
                  <a:pt x="3" y="8"/>
                  <a:pt x="1" y="6"/>
                  <a:pt x="2" y="4"/>
                </a:cubicBezTo>
                <a:cubicBezTo>
                  <a:pt x="4" y="0"/>
                  <a:pt x="9" y="2"/>
                  <a:pt x="11" y="4"/>
                </a:cubicBezTo>
                <a:cubicBezTo>
                  <a:pt x="11" y="4"/>
                  <a:pt x="11" y="4"/>
                  <a:pt x="11" y="4"/>
                </a:cubicBezTo>
                <a:cubicBezTo>
                  <a:pt x="9" y="1"/>
                  <a:pt x="5" y="0"/>
                  <a:pt x="2" y="3"/>
                </a:cubicBezTo>
                <a:cubicBezTo>
                  <a:pt x="0" y="5"/>
                  <a:pt x="2" y="9"/>
                  <a:pt x="4" y="10"/>
                </a:cubicBezTo>
                <a:cubicBezTo>
                  <a:pt x="6" y="12"/>
                  <a:pt x="9" y="13"/>
                  <a:pt x="11" y="11"/>
                </a:cubicBezTo>
                <a:cubicBezTo>
                  <a:pt x="15" y="8"/>
                  <a:pt x="13" y="3"/>
                  <a:pt x="9" y="2"/>
                </a:cubicBezTo>
                <a:close/>
              </a:path>
            </a:pathLst>
          </a:custGeom>
          <a:solidFill>
            <a:srgbClr val="747678"/>
          </a:solidFill>
          <a:ln>
            <a:noFill/>
          </a:ln>
        </p:spPr>
        <p:txBody>
          <a:bodyPr spcFirstLastPara="1" wrap="square" lIns="74275" tIns="37125" rIns="74275" bIns="371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63">
              <a:solidFill>
                <a:srgbClr val="00000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33" name="Google Shape;509;p3">
            <a:extLst>
              <a:ext uri="{FF2B5EF4-FFF2-40B4-BE49-F238E27FC236}">
                <a16:creationId xmlns:a16="http://schemas.microsoft.com/office/drawing/2014/main" id="{B34886AA-4B0D-D4B2-F329-FF1863B1316E}"/>
              </a:ext>
            </a:extLst>
          </p:cNvPr>
          <p:cNvSpPr/>
          <p:nvPr/>
        </p:nvSpPr>
        <p:spPr>
          <a:xfrm>
            <a:off x="7126593" y="5008480"/>
            <a:ext cx="93952" cy="104135"/>
          </a:xfrm>
          <a:custGeom>
            <a:avLst/>
            <a:gdLst/>
            <a:ahLst/>
            <a:cxnLst/>
            <a:rect l="l" t="t" r="r" b="b"/>
            <a:pathLst>
              <a:path w="10" h="10" extrusionOk="0">
                <a:moveTo>
                  <a:pt x="9" y="3"/>
                </a:moveTo>
                <a:cubicBezTo>
                  <a:pt x="9" y="3"/>
                  <a:pt x="9" y="3"/>
                  <a:pt x="9" y="3"/>
                </a:cubicBezTo>
                <a:cubicBezTo>
                  <a:pt x="9" y="3"/>
                  <a:pt x="9" y="3"/>
                  <a:pt x="9" y="3"/>
                </a:cubicBezTo>
                <a:cubicBezTo>
                  <a:pt x="8" y="2"/>
                  <a:pt x="8" y="1"/>
                  <a:pt x="7" y="1"/>
                </a:cubicBezTo>
                <a:cubicBezTo>
                  <a:pt x="7" y="0"/>
                  <a:pt x="6" y="1"/>
                  <a:pt x="6" y="1"/>
                </a:cubicBezTo>
                <a:cubicBezTo>
                  <a:pt x="7" y="1"/>
                  <a:pt x="7" y="2"/>
                  <a:pt x="7" y="2"/>
                </a:cubicBezTo>
                <a:cubicBezTo>
                  <a:pt x="6" y="2"/>
                  <a:pt x="6" y="2"/>
                  <a:pt x="5" y="2"/>
                </a:cubicBezTo>
                <a:cubicBezTo>
                  <a:pt x="3" y="2"/>
                  <a:pt x="2" y="4"/>
                  <a:pt x="1" y="5"/>
                </a:cubicBezTo>
                <a:cubicBezTo>
                  <a:pt x="0" y="6"/>
                  <a:pt x="2" y="8"/>
                  <a:pt x="4" y="8"/>
                </a:cubicBezTo>
                <a:cubicBezTo>
                  <a:pt x="5" y="9"/>
                  <a:pt x="8" y="10"/>
                  <a:pt x="9" y="8"/>
                </a:cubicBezTo>
                <a:cubicBezTo>
                  <a:pt x="10" y="7"/>
                  <a:pt x="10" y="5"/>
                  <a:pt x="9" y="3"/>
                </a:cubicBezTo>
                <a:close/>
                <a:moveTo>
                  <a:pt x="8" y="7"/>
                </a:moveTo>
                <a:cubicBezTo>
                  <a:pt x="7" y="8"/>
                  <a:pt x="5" y="8"/>
                  <a:pt x="4" y="8"/>
                </a:cubicBezTo>
                <a:cubicBezTo>
                  <a:pt x="4" y="7"/>
                  <a:pt x="2" y="6"/>
                  <a:pt x="2" y="5"/>
                </a:cubicBezTo>
                <a:cubicBezTo>
                  <a:pt x="2" y="4"/>
                  <a:pt x="4" y="3"/>
                  <a:pt x="5" y="3"/>
                </a:cubicBezTo>
                <a:cubicBezTo>
                  <a:pt x="6" y="2"/>
                  <a:pt x="7" y="3"/>
                  <a:pt x="7" y="3"/>
                </a:cubicBezTo>
                <a:cubicBezTo>
                  <a:pt x="8" y="4"/>
                  <a:pt x="9" y="6"/>
                  <a:pt x="8" y="7"/>
                </a:cubicBezTo>
                <a:close/>
              </a:path>
            </a:pathLst>
          </a:custGeom>
          <a:solidFill>
            <a:srgbClr val="747678"/>
          </a:solidFill>
          <a:ln>
            <a:noFill/>
          </a:ln>
        </p:spPr>
        <p:txBody>
          <a:bodyPr spcFirstLastPara="1" wrap="square" lIns="74275" tIns="37125" rIns="74275" bIns="371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63">
              <a:solidFill>
                <a:srgbClr val="00000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34" name="Google Shape;507;p3">
            <a:extLst>
              <a:ext uri="{FF2B5EF4-FFF2-40B4-BE49-F238E27FC236}">
                <a16:creationId xmlns:a16="http://schemas.microsoft.com/office/drawing/2014/main" id="{E00B1C0C-2373-8FF9-7F84-AA37F719F180}"/>
              </a:ext>
            </a:extLst>
          </p:cNvPr>
          <p:cNvSpPr/>
          <p:nvPr/>
        </p:nvSpPr>
        <p:spPr>
          <a:xfrm>
            <a:off x="6193415" y="4332375"/>
            <a:ext cx="195732" cy="208271"/>
          </a:xfrm>
          <a:custGeom>
            <a:avLst/>
            <a:gdLst/>
            <a:ahLst/>
            <a:cxnLst/>
            <a:rect l="l" t="t" r="r" b="b"/>
            <a:pathLst>
              <a:path w="21" h="20" extrusionOk="0">
                <a:moveTo>
                  <a:pt x="12" y="2"/>
                </a:moveTo>
                <a:cubicBezTo>
                  <a:pt x="12" y="2"/>
                  <a:pt x="12" y="2"/>
                  <a:pt x="12" y="2"/>
                </a:cubicBezTo>
                <a:cubicBezTo>
                  <a:pt x="9" y="0"/>
                  <a:pt x="4" y="3"/>
                  <a:pt x="2" y="7"/>
                </a:cubicBezTo>
                <a:cubicBezTo>
                  <a:pt x="0" y="11"/>
                  <a:pt x="2" y="16"/>
                  <a:pt x="7" y="18"/>
                </a:cubicBezTo>
                <a:cubicBezTo>
                  <a:pt x="11" y="20"/>
                  <a:pt x="15" y="19"/>
                  <a:pt x="18" y="15"/>
                </a:cubicBezTo>
                <a:cubicBezTo>
                  <a:pt x="21" y="11"/>
                  <a:pt x="18" y="3"/>
                  <a:pt x="12" y="2"/>
                </a:cubicBezTo>
                <a:close/>
                <a:moveTo>
                  <a:pt x="17" y="14"/>
                </a:moveTo>
                <a:cubicBezTo>
                  <a:pt x="15" y="17"/>
                  <a:pt x="12" y="18"/>
                  <a:pt x="9" y="18"/>
                </a:cubicBezTo>
                <a:cubicBezTo>
                  <a:pt x="5" y="17"/>
                  <a:pt x="3" y="14"/>
                  <a:pt x="2" y="10"/>
                </a:cubicBezTo>
                <a:cubicBezTo>
                  <a:pt x="2" y="7"/>
                  <a:pt x="4" y="5"/>
                  <a:pt x="6" y="4"/>
                </a:cubicBezTo>
                <a:cubicBezTo>
                  <a:pt x="8" y="2"/>
                  <a:pt x="11" y="2"/>
                  <a:pt x="13" y="4"/>
                </a:cubicBezTo>
                <a:cubicBezTo>
                  <a:pt x="14" y="4"/>
                  <a:pt x="14" y="4"/>
                  <a:pt x="14" y="4"/>
                </a:cubicBezTo>
                <a:cubicBezTo>
                  <a:pt x="13" y="4"/>
                  <a:pt x="13" y="4"/>
                  <a:pt x="13" y="4"/>
                </a:cubicBezTo>
                <a:cubicBezTo>
                  <a:pt x="15" y="5"/>
                  <a:pt x="16" y="6"/>
                  <a:pt x="17" y="8"/>
                </a:cubicBezTo>
                <a:cubicBezTo>
                  <a:pt x="18" y="10"/>
                  <a:pt x="18" y="12"/>
                  <a:pt x="17" y="14"/>
                </a:cubicBezTo>
                <a:close/>
              </a:path>
            </a:pathLst>
          </a:custGeom>
          <a:solidFill>
            <a:srgbClr val="747678"/>
          </a:solidFill>
          <a:ln>
            <a:noFill/>
          </a:ln>
        </p:spPr>
        <p:txBody>
          <a:bodyPr spcFirstLastPara="1" wrap="square" lIns="74275" tIns="37125" rIns="74275" bIns="371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63">
              <a:solidFill>
                <a:srgbClr val="00000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35" name="Google Shape;508;p3">
            <a:extLst>
              <a:ext uri="{FF2B5EF4-FFF2-40B4-BE49-F238E27FC236}">
                <a16:creationId xmlns:a16="http://schemas.microsoft.com/office/drawing/2014/main" id="{3017534A-D5D0-A113-F8CD-5EAAC3CD5123}"/>
              </a:ext>
            </a:extLst>
          </p:cNvPr>
          <p:cNvSpPr/>
          <p:nvPr/>
        </p:nvSpPr>
        <p:spPr>
          <a:xfrm>
            <a:off x="6709933" y="4816713"/>
            <a:ext cx="140927" cy="134506"/>
          </a:xfrm>
          <a:custGeom>
            <a:avLst/>
            <a:gdLst/>
            <a:ahLst/>
            <a:cxnLst/>
            <a:rect l="l" t="t" r="r" b="b"/>
            <a:pathLst>
              <a:path w="15" h="13" extrusionOk="0">
                <a:moveTo>
                  <a:pt x="9" y="2"/>
                </a:moveTo>
                <a:cubicBezTo>
                  <a:pt x="9" y="2"/>
                  <a:pt x="9" y="2"/>
                  <a:pt x="9" y="2"/>
                </a:cubicBezTo>
                <a:cubicBezTo>
                  <a:pt x="10" y="3"/>
                  <a:pt x="12" y="4"/>
                  <a:pt x="12" y="6"/>
                </a:cubicBezTo>
                <a:cubicBezTo>
                  <a:pt x="13" y="7"/>
                  <a:pt x="12" y="10"/>
                  <a:pt x="10" y="11"/>
                </a:cubicBezTo>
                <a:cubicBezTo>
                  <a:pt x="8" y="12"/>
                  <a:pt x="6" y="11"/>
                  <a:pt x="4" y="10"/>
                </a:cubicBezTo>
                <a:cubicBezTo>
                  <a:pt x="3" y="8"/>
                  <a:pt x="1" y="6"/>
                  <a:pt x="2" y="4"/>
                </a:cubicBezTo>
                <a:cubicBezTo>
                  <a:pt x="4" y="0"/>
                  <a:pt x="9" y="2"/>
                  <a:pt x="11" y="4"/>
                </a:cubicBezTo>
                <a:cubicBezTo>
                  <a:pt x="11" y="4"/>
                  <a:pt x="11" y="4"/>
                  <a:pt x="11" y="4"/>
                </a:cubicBezTo>
                <a:cubicBezTo>
                  <a:pt x="9" y="1"/>
                  <a:pt x="5" y="0"/>
                  <a:pt x="2" y="3"/>
                </a:cubicBezTo>
                <a:cubicBezTo>
                  <a:pt x="0" y="5"/>
                  <a:pt x="2" y="9"/>
                  <a:pt x="4" y="10"/>
                </a:cubicBezTo>
                <a:cubicBezTo>
                  <a:pt x="6" y="12"/>
                  <a:pt x="9" y="13"/>
                  <a:pt x="11" y="11"/>
                </a:cubicBezTo>
                <a:cubicBezTo>
                  <a:pt x="15" y="8"/>
                  <a:pt x="13" y="3"/>
                  <a:pt x="9" y="2"/>
                </a:cubicBezTo>
                <a:close/>
              </a:path>
            </a:pathLst>
          </a:custGeom>
          <a:solidFill>
            <a:srgbClr val="747678"/>
          </a:solidFill>
          <a:ln>
            <a:noFill/>
          </a:ln>
        </p:spPr>
        <p:txBody>
          <a:bodyPr spcFirstLastPara="1" wrap="square" lIns="74275" tIns="37125" rIns="74275" bIns="371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63">
              <a:solidFill>
                <a:srgbClr val="00000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36" name="Google Shape;509;p3">
            <a:extLst>
              <a:ext uri="{FF2B5EF4-FFF2-40B4-BE49-F238E27FC236}">
                <a16:creationId xmlns:a16="http://schemas.microsoft.com/office/drawing/2014/main" id="{1B928281-E61D-D8F3-4129-BD8CB313DFF2}"/>
              </a:ext>
            </a:extLst>
          </p:cNvPr>
          <p:cNvSpPr/>
          <p:nvPr/>
        </p:nvSpPr>
        <p:spPr>
          <a:xfrm>
            <a:off x="6926211" y="4948250"/>
            <a:ext cx="93952" cy="104135"/>
          </a:xfrm>
          <a:custGeom>
            <a:avLst/>
            <a:gdLst/>
            <a:ahLst/>
            <a:cxnLst/>
            <a:rect l="l" t="t" r="r" b="b"/>
            <a:pathLst>
              <a:path w="10" h="10" extrusionOk="0">
                <a:moveTo>
                  <a:pt x="9" y="3"/>
                </a:moveTo>
                <a:cubicBezTo>
                  <a:pt x="9" y="3"/>
                  <a:pt x="9" y="3"/>
                  <a:pt x="9" y="3"/>
                </a:cubicBezTo>
                <a:cubicBezTo>
                  <a:pt x="9" y="3"/>
                  <a:pt x="9" y="3"/>
                  <a:pt x="9" y="3"/>
                </a:cubicBezTo>
                <a:cubicBezTo>
                  <a:pt x="8" y="2"/>
                  <a:pt x="8" y="1"/>
                  <a:pt x="7" y="1"/>
                </a:cubicBezTo>
                <a:cubicBezTo>
                  <a:pt x="7" y="0"/>
                  <a:pt x="6" y="1"/>
                  <a:pt x="6" y="1"/>
                </a:cubicBezTo>
                <a:cubicBezTo>
                  <a:pt x="7" y="1"/>
                  <a:pt x="7" y="2"/>
                  <a:pt x="7" y="2"/>
                </a:cubicBezTo>
                <a:cubicBezTo>
                  <a:pt x="6" y="2"/>
                  <a:pt x="6" y="2"/>
                  <a:pt x="5" y="2"/>
                </a:cubicBezTo>
                <a:cubicBezTo>
                  <a:pt x="3" y="2"/>
                  <a:pt x="2" y="4"/>
                  <a:pt x="1" y="5"/>
                </a:cubicBezTo>
                <a:cubicBezTo>
                  <a:pt x="0" y="6"/>
                  <a:pt x="2" y="8"/>
                  <a:pt x="4" y="8"/>
                </a:cubicBezTo>
                <a:cubicBezTo>
                  <a:pt x="5" y="9"/>
                  <a:pt x="8" y="10"/>
                  <a:pt x="9" y="8"/>
                </a:cubicBezTo>
                <a:cubicBezTo>
                  <a:pt x="10" y="7"/>
                  <a:pt x="10" y="5"/>
                  <a:pt x="9" y="3"/>
                </a:cubicBezTo>
                <a:close/>
                <a:moveTo>
                  <a:pt x="8" y="7"/>
                </a:moveTo>
                <a:cubicBezTo>
                  <a:pt x="7" y="8"/>
                  <a:pt x="5" y="8"/>
                  <a:pt x="4" y="8"/>
                </a:cubicBezTo>
                <a:cubicBezTo>
                  <a:pt x="4" y="7"/>
                  <a:pt x="2" y="6"/>
                  <a:pt x="2" y="5"/>
                </a:cubicBezTo>
                <a:cubicBezTo>
                  <a:pt x="2" y="4"/>
                  <a:pt x="4" y="3"/>
                  <a:pt x="5" y="3"/>
                </a:cubicBezTo>
                <a:cubicBezTo>
                  <a:pt x="6" y="2"/>
                  <a:pt x="7" y="3"/>
                  <a:pt x="7" y="3"/>
                </a:cubicBezTo>
                <a:cubicBezTo>
                  <a:pt x="8" y="4"/>
                  <a:pt x="9" y="6"/>
                  <a:pt x="8" y="7"/>
                </a:cubicBezTo>
                <a:close/>
              </a:path>
            </a:pathLst>
          </a:custGeom>
          <a:solidFill>
            <a:srgbClr val="747678"/>
          </a:solidFill>
          <a:ln>
            <a:noFill/>
          </a:ln>
        </p:spPr>
        <p:txBody>
          <a:bodyPr spcFirstLastPara="1" wrap="square" lIns="74275" tIns="37125" rIns="74275" bIns="371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63">
              <a:solidFill>
                <a:srgbClr val="00000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41" name="Arrow: Chevron 40">
            <a:extLst>
              <a:ext uri="{FF2B5EF4-FFF2-40B4-BE49-F238E27FC236}">
                <a16:creationId xmlns:a16="http://schemas.microsoft.com/office/drawing/2014/main" id="{353E25F5-335D-AD3A-5FCE-BB33A66176DA}"/>
              </a:ext>
            </a:extLst>
          </p:cNvPr>
          <p:cNvSpPr/>
          <p:nvPr/>
        </p:nvSpPr>
        <p:spPr>
          <a:xfrm>
            <a:off x="4251682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PREPARTION</a:t>
            </a:r>
          </a:p>
        </p:txBody>
      </p:sp>
      <p:sp>
        <p:nvSpPr>
          <p:cNvPr id="42" name="Arrow: Chevron 41">
            <a:extLst>
              <a:ext uri="{FF2B5EF4-FFF2-40B4-BE49-F238E27FC236}">
                <a16:creationId xmlns:a16="http://schemas.microsoft.com/office/drawing/2014/main" id="{90063B21-DDB7-F2B9-B2E0-B6109C8FE9BC}"/>
              </a:ext>
            </a:extLst>
          </p:cNvPr>
          <p:cNvSpPr/>
          <p:nvPr/>
        </p:nvSpPr>
        <p:spPr>
          <a:xfrm>
            <a:off x="6215940" y="6561469"/>
            <a:ext cx="2077134" cy="296896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ODEL EVALUATION &amp; PREDICTION</a:t>
            </a:r>
          </a:p>
        </p:txBody>
      </p:sp>
      <p:sp>
        <p:nvSpPr>
          <p:cNvPr id="43" name="Arrow: Chevron 42">
            <a:extLst>
              <a:ext uri="{FF2B5EF4-FFF2-40B4-BE49-F238E27FC236}">
                <a16:creationId xmlns:a16="http://schemas.microsoft.com/office/drawing/2014/main" id="{8F936118-D347-227A-C510-09D8CC0456C5}"/>
              </a:ext>
            </a:extLst>
          </p:cNvPr>
          <p:cNvSpPr/>
          <p:nvPr/>
        </p:nvSpPr>
        <p:spPr>
          <a:xfrm>
            <a:off x="8180198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INVENTORY REPLENISHMENT</a:t>
            </a: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541652E5-2C8A-2434-5110-15D8B7DCB2AB}"/>
              </a:ext>
            </a:extLst>
          </p:cNvPr>
          <p:cNvSpPr/>
          <p:nvPr/>
        </p:nvSpPr>
        <p:spPr>
          <a:xfrm>
            <a:off x="10144455" y="6561104"/>
            <a:ext cx="2047545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BENEFITS TO EBs and TBH</a:t>
            </a:r>
          </a:p>
        </p:txBody>
      </p:sp>
      <p:sp>
        <p:nvSpPr>
          <p:cNvPr id="45" name="Arrow: Chevron 44">
            <a:extLst>
              <a:ext uri="{FF2B5EF4-FFF2-40B4-BE49-F238E27FC236}">
                <a16:creationId xmlns:a16="http://schemas.microsoft.com/office/drawing/2014/main" id="{462AFF13-17D2-9C6B-8B85-155EFEEA71DF}"/>
              </a:ext>
            </a:extLst>
          </p:cNvPr>
          <p:cNvSpPr/>
          <p:nvPr/>
        </p:nvSpPr>
        <p:spPr>
          <a:xfrm>
            <a:off x="2287424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ETHOD COMPARISON &amp; DATA</a:t>
            </a:r>
          </a:p>
        </p:txBody>
      </p:sp>
      <p:sp>
        <p:nvSpPr>
          <p:cNvPr id="46" name="Arrow: Pentagon 45">
            <a:extLst>
              <a:ext uri="{FF2B5EF4-FFF2-40B4-BE49-F238E27FC236}">
                <a16:creationId xmlns:a16="http://schemas.microsoft.com/office/drawing/2014/main" id="{79173096-848E-A243-5AF3-43980C2340C5}"/>
              </a:ext>
            </a:extLst>
          </p:cNvPr>
          <p:cNvSpPr/>
          <p:nvPr/>
        </p:nvSpPr>
        <p:spPr>
          <a:xfrm>
            <a:off x="0" y="6565900"/>
            <a:ext cx="2400300" cy="2921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PAIN POINTS/GAPS</a:t>
            </a:r>
          </a:p>
        </p:txBody>
      </p:sp>
    </p:spTree>
    <p:extLst>
      <p:ext uri="{BB962C8B-B14F-4D97-AF65-F5344CB8AC3E}">
        <p14:creationId xmlns:p14="http://schemas.microsoft.com/office/powerpoint/2010/main" val="13574004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8D0DE0-522F-29B0-8202-964439F707B1}"/>
              </a:ext>
            </a:extLst>
          </p:cNvPr>
          <p:cNvSpPr txBox="1">
            <a:spLocks/>
          </p:cNvSpPr>
          <p:nvPr/>
        </p:nvSpPr>
        <p:spPr>
          <a:xfrm>
            <a:off x="510271" y="459609"/>
            <a:ext cx="10933350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MODELLING &amp; </a:t>
            </a:r>
            <a:r>
              <a:rPr lang="en-IN">
                <a:solidFill>
                  <a:schemeClr val="accent1">
                    <a:lumMod val="75000"/>
                  </a:schemeClr>
                </a:solidFill>
              </a:rPr>
              <a:t>PREDICTIONS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0B52AE05-92C3-17AD-2279-8A4131D3CC69}"/>
              </a:ext>
            </a:extLst>
          </p:cNvPr>
          <p:cNvSpPr/>
          <p:nvPr/>
        </p:nvSpPr>
        <p:spPr>
          <a:xfrm>
            <a:off x="2731767" y="1362667"/>
            <a:ext cx="3240912" cy="590309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SELECTION OF MODEL</a:t>
            </a: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C4C2F276-C362-0976-73F7-F28CE551C8A5}"/>
              </a:ext>
            </a:extLst>
          </p:cNvPr>
          <p:cNvSpPr/>
          <p:nvPr/>
        </p:nvSpPr>
        <p:spPr>
          <a:xfrm>
            <a:off x="5719964" y="1362666"/>
            <a:ext cx="3240912" cy="590309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PREDICTION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46BEE9D1-CFBE-0414-84A0-22E9BC6E2F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6622" y="2247577"/>
            <a:ext cx="4572584" cy="3679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 screenshot of a graph&#10;&#10;Description automatically generated">
            <a:extLst>
              <a:ext uri="{FF2B5EF4-FFF2-40B4-BE49-F238E27FC236}">
                <a16:creationId xmlns:a16="http://schemas.microsoft.com/office/drawing/2014/main" id="{06E12005-CCE2-E481-063A-6010CD58F0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3979" y="2911125"/>
            <a:ext cx="4851400" cy="199390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DC3D94D4-2FAB-18E0-744A-81926DEBC539}"/>
              </a:ext>
            </a:extLst>
          </p:cNvPr>
          <p:cNvSpPr txBox="1"/>
          <p:nvPr/>
        </p:nvSpPr>
        <p:spPr>
          <a:xfrm>
            <a:off x="10144455" y="6314518"/>
            <a:ext cx="19873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i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for the chosen </a:t>
            </a:r>
            <a:r>
              <a:rPr lang="en-GB" sz="1000" i="1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sku</a:t>
            </a:r>
            <a:r>
              <a:rPr lang="en-GB" sz="1000" i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 and store</a:t>
            </a:r>
          </a:p>
        </p:txBody>
      </p:sp>
      <p:sp>
        <p:nvSpPr>
          <p:cNvPr id="38" name="Rectangle 1">
            <a:extLst>
              <a:ext uri="{FF2B5EF4-FFF2-40B4-BE49-F238E27FC236}">
                <a16:creationId xmlns:a16="http://schemas.microsoft.com/office/drawing/2014/main" id="{FA52F214-07A2-3D9A-1F41-6A61DDCC1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5776" y="6284280"/>
            <a:ext cx="7411948" cy="18466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Selected Features: Index(['</a:t>
            </a:r>
            <a:r>
              <a:rPr kumimoji="0" lang="en-US" altLang="en-US" sz="1200" b="0" i="0" u="none" strike="noStrike" cap="none" normalizeH="0" baseline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store_id</a:t>
            </a:r>
            <a:r>
              <a:rPr kumimoji="0" lang="en-US" altLang="en-US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', '</a:t>
            </a:r>
            <a:r>
              <a:rPr kumimoji="0" lang="en-US" altLang="en-US" sz="1200" b="0" i="0" u="none" strike="noStrike" cap="none" normalizeH="0" baseline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total_price</a:t>
            </a:r>
            <a:r>
              <a:rPr kumimoji="0" lang="en-US" altLang="en-US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', '</a:t>
            </a:r>
            <a:r>
              <a:rPr kumimoji="0" lang="en-US" altLang="en-US" sz="1200" b="0" i="0" u="none" strike="noStrike" cap="none" normalizeH="0" baseline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base_price</a:t>
            </a:r>
            <a:r>
              <a:rPr kumimoji="0" lang="en-US" altLang="en-US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', '</a:t>
            </a:r>
            <a:r>
              <a:rPr kumimoji="0" lang="en-US" altLang="en-US" sz="1200" b="0" i="0" u="none" strike="noStrike" cap="none" normalizeH="0" baseline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is_display_sku</a:t>
            </a:r>
            <a:r>
              <a:rPr kumimoji="0" lang="en-US" altLang="en-US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', 'month', '</a:t>
            </a:r>
            <a:r>
              <a:rPr kumimoji="0" lang="en-US" altLang="en-US" sz="1200" b="0" i="0" u="none" strike="noStrike" cap="none" normalizeH="0" baseline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day_of_month</a:t>
            </a:r>
            <a:r>
              <a:rPr kumimoji="0" lang="en-US" altLang="en-US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']</a:t>
            </a:r>
            <a:endParaRPr kumimoji="0" lang="en-US" alt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CEDB79C8-2EED-B3A6-487A-192B56D0D2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5775" y="6081075"/>
            <a:ext cx="8375635" cy="15388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000" b="1">
                <a:solidFill>
                  <a:srgbClr val="000000"/>
                </a:solidFill>
                <a:latin typeface="+mj-lt"/>
              </a:rPr>
              <a:t>6</a:t>
            </a:r>
            <a:r>
              <a:rPr kumimoji="0" lang="en-US" altLang="en-US" sz="10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 most important features important to predicting demand for the </a:t>
            </a:r>
            <a:r>
              <a:rPr kumimoji="0" lang="en-US" altLang="en-US" sz="1000" b="1" i="0" u="none" strike="noStrike" cap="none" normalizeH="0" baseline="0" err="1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sku</a:t>
            </a:r>
            <a:r>
              <a:rPr kumimoji="0" lang="en-US" altLang="en-US" sz="10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 and store:</a:t>
            </a:r>
            <a:endParaRPr kumimoji="0" lang="en-US" alt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3D1521DA-A025-40F5-570D-22D773E48F41}"/>
              </a:ext>
            </a:extLst>
          </p:cNvPr>
          <p:cNvSpPr/>
          <p:nvPr/>
        </p:nvSpPr>
        <p:spPr>
          <a:xfrm>
            <a:off x="4251682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PREPARTION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833DDB84-29F4-8D8F-5802-E022C4253CD1}"/>
              </a:ext>
            </a:extLst>
          </p:cNvPr>
          <p:cNvSpPr/>
          <p:nvPr/>
        </p:nvSpPr>
        <p:spPr>
          <a:xfrm>
            <a:off x="6215940" y="6561469"/>
            <a:ext cx="2077134" cy="296896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ODEL EVALUATION &amp; PREDICTION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8AA7DC39-8540-B155-791A-284B3375043B}"/>
              </a:ext>
            </a:extLst>
          </p:cNvPr>
          <p:cNvSpPr/>
          <p:nvPr/>
        </p:nvSpPr>
        <p:spPr>
          <a:xfrm>
            <a:off x="8180198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INVENTORY REPLENISHMENT</a:t>
            </a: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A5BE0A2D-B444-9AEB-92CA-E9EDDCF36859}"/>
              </a:ext>
            </a:extLst>
          </p:cNvPr>
          <p:cNvSpPr/>
          <p:nvPr/>
        </p:nvSpPr>
        <p:spPr>
          <a:xfrm>
            <a:off x="10144455" y="6561104"/>
            <a:ext cx="2047545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BENEFITS TO EBs and TBH</a:t>
            </a:r>
          </a:p>
        </p:txBody>
      </p:sp>
      <p:sp>
        <p:nvSpPr>
          <p:cNvPr id="39" name="Arrow: Chevron 38">
            <a:extLst>
              <a:ext uri="{FF2B5EF4-FFF2-40B4-BE49-F238E27FC236}">
                <a16:creationId xmlns:a16="http://schemas.microsoft.com/office/drawing/2014/main" id="{21DA394F-C8A5-6661-18CC-55CD3F6759FD}"/>
              </a:ext>
            </a:extLst>
          </p:cNvPr>
          <p:cNvSpPr/>
          <p:nvPr/>
        </p:nvSpPr>
        <p:spPr>
          <a:xfrm>
            <a:off x="2287424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ETHOD COMPARISON &amp; DATA</a:t>
            </a:r>
          </a:p>
        </p:txBody>
      </p:sp>
      <p:sp>
        <p:nvSpPr>
          <p:cNvPr id="40" name="Arrow: Pentagon 39">
            <a:extLst>
              <a:ext uri="{FF2B5EF4-FFF2-40B4-BE49-F238E27FC236}">
                <a16:creationId xmlns:a16="http://schemas.microsoft.com/office/drawing/2014/main" id="{0F4BBA80-BE48-2E11-A07F-E3568245E157}"/>
              </a:ext>
            </a:extLst>
          </p:cNvPr>
          <p:cNvSpPr/>
          <p:nvPr/>
        </p:nvSpPr>
        <p:spPr>
          <a:xfrm>
            <a:off x="0" y="6565900"/>
            <a:ext cx="2400300" cy="2921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PAIN POINTS/GAPS</a:t>
            </a:r>
          </a:p>
        </p:txBody>
      </p:sp>
    </p:spTree>
    <p:extLst>
      <p:ext uri="{BB962C8B-B14F-4D97-AF65-F5344CB8AC3E}">
        <p14:creationId xmlns:p14="http://schemas.microsoft.com/office/powerpoint/2010/main" val="16137434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8D0DE0-522F-29B0-8202-964439F707B1}"/>
              </a:ext>
            </a:extLst>
          </p:cNvPr>
          <p:cNvSpPr txBox="1">
            <a:spLocks/>
          </p:cNvSpPr>
          <p:nvPr/>
        </p:nvSpPr>
        <p:spPr>
          <a:xfrm>
            <a:off x="510271" y="459609"/>
            <a:ext cx="10933350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>
                <a:solidFill>
                  <a:schemeClr val="tx1"/>
                </a:solidFill>
              </a:rPr>
              <a:t>FINDING</a:t>
            </a:r>
            <a:r>
              <a:rPr lang="en-IN">
                <a:solidFill>
                  <a:schemeClr val="accent1">
                    <a:lumMod val="75000"/>
                  </a:schemeClr>
                </a:solidFill>
              </a:rPr>
              <a:t> RE-ORDER POINT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654165C-BF17-E197-40A4-C5A14A93C8CB}"/>
              </a:ext>
            </a:extLst>
          </p:cNvPr>
          <p:cNvCxnSpPr/>
          <p:nvPr/>
        </p:nvCxnSpPr>
        <p:spPr>
          <a:xfrm>
            <a:off x="1038576" y="2156179"/>
            <a:ext cx="0" cy="35334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0E125C3-13A1-B577-8DA4-B3956E724B6E}"/>
              </a:ext>
            </a:extLst>
          </p:cNvPr>
          <p:cNvCxnSpPr/>
          <p:nvPr/>
        </p:nvCxnSpPr>
        <p:spPr>
          <a:xfrm>
            <a:off x="1038576" y="5689601"/>
            <a:ext cx="628791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27C8A77-5E9B-7408-64D9-B70691E5E9A1}"/>
              </a:ext>
            </a:extLst>
          </p:cNvPr>
          <p:cNvCxnSpPr>
            <a:cxnSpLocks/>
          </p:cNvCxnSpPr>
          <p:nvPr/>
        </p:nvCxnSpPr>
        <p:spPr>
          <a:xfrm>
            <a:off x="1377242" y="2421467"/>
            <a:ext cx="4617157" cy="3098801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8AE6478-B819-4433-0893-632A91BE62FF}"/>
              </a:ext>
            </a:extLst>
          </p:cNvPr>
          <p:cNvCxnSpPr>
            <a:cxnSpLocks/>
          </p:cNvCxnSpPr>
          <p:nvPr/>
        </p:nvCxnSpPr>
        <p:spPr>
          <a:xfrm>
            <a:off x="510271" y="3668889"/>
            <a:ext cx="7121016" cy="1"/>
          </a:xfrm>
          <a:prstGeom prst="line">
            <a:avLst/>
          </a:prstGeom>
          <a:ln>
            <a:solidFill>
              <a:srgbClr val="44BF3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2627375-E097-9D5A-AC75-1CA9918571D1}"/>
              </a:ext>
            </a:extLst>
          </p:cNvPr>
          <p:cNvCxnSpPr>
            <a:cxnSpLocks/>
          </p:cNvCxnSpPr>
          <p:nvPr/>
        </p:nvCxnSpPr>
        <p:spPr>
          <a:xfrm>
            <a:off x="3222975" y="2421466"/>
            <a:ext cx="39512" cy="365195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1D25E1C-E5A8-9DF3-135E-066B3BDBC75A}"/>
              </a:ext>
            </a:extLst>
          </p:cNvPr>
          <p:cNvCxnSpPr>
            <a:cxnSpLocks/>
          </p:cNvCxnSpPr>
          <p:nvPr/>
        </p:nvCxnSpPr>
        <p:spPr>
          <a:xfrm>
            <a:off x="510271" y="4873768"/>
            <a:ext cx="7121016" cy="8677"/>
          </a:xfrm>
          <a:prstGeom prst="line">
            <a:avLst/>
          </a:prstGeom>
          <a:ln>
            <a:solidFill>
              <a:schemeClr val="accent4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5FD776E9-0E28-15D0-F8A5-058FD8FA8BE2}"/>
              </a:ext>
            </a:extLst>
          </p:cNvPr>
          <p:cNvSpPr/>
          <p:nvPr/>
        </p:nvSpPr>
        <p:spPr>
          <a:xfrm>
            <a:off x="948266" y="2160900"/>
            <a:ext cx="180620" cy="14675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E5FC833A-7C5C-93EF-EDA1-4F32559D12CC}"/>
              </a:ext>
            </a:extLst>
          </p:cNvPr>
          <p:cNvSpPr/>
          <p:nvPr/>
        </p:nvSpPr>
        <p:spPr>
          <a:xfrm rot="5400000">
            <a:off x="7298265" y="5616225"/>
            <a:ext cx="180620" cy="14675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79B9F77B-F56C-B6B8-03D3-187A50D546A3}"/>
              </a:ext>
            </a:extLst>
          </p:cNvPr>
          <p:cNvCxnSpPr>
            <a:cxnSpLocks/>
          </p:cNvCxnSpPr>
          <p:nvPr/>
        </p:nvCxnSpPr>
        <p:spPr>
          <a:xfrm>
            <a:off x="3262487" y="5012268"/>
            <a:ext cx="177235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A7749071-9BFE-A330-B83F-884EF07EFE8F}"/>
              </a:ext>
            </a:extLst>
          </p:cNvPr>
          <p:cNvSpPr txBox="1"/>
          <p:nvPr/>
        </p:nvSpPr>
        <p:spPr>
          <a:xfrm>
            <a:off x="3352799" y="5043102"/>
            <a:ext cx="1625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latin typeface="+mj-lt"/>
              </a:rPr>
              <a:t>Lead Tim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1842B2F-C570-33FB-7D8B-5A8DA05229E7}"/>
              </a:ext>
            </a:extLst>
          </p:cNvPr>
          <p:cNvSpPr txBox="1"/>
          <p:nvPr/>
        </p:nvSpPr>
        <p:spPr>
          <a:xfrm>
            <a:off x="7388575" y="4735269"/>
            <a:ext cx="1625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latin typeface="+mj-lt"/>
              </a:rPr>
              <a:t>Safety stock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5DA9612-69A3-7F19-DAE0-C09CDD7A1422}"/>
              </a:ext>
            </a:extLst>
          </p:cNvPr>
          <p:cNvSpPr txBox="1"/>
          <p:nvPr/>
        </p:nvSpPr>
        <p:spPr>
          <a:xfrm>
            <a:off x="7495820" y="3530390"/>
            <a:ext cx="1625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latin typeface="+mj-lt"/>
              </a:rPr>
              <a:t>Re-order point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91A7A6D-D1E4-60EF-EB31-F4420B0ECFC7}"/>
              </a:ext>
            </a:extLst>
          </p:cNvPr>
          <p:cNvSpPr txBox="1"/>
          <p:nvPr/>
        </p:nvSpPr>
        <p:spPr>
          <a:xfrm>
            <a:off x="6005687" y="5759294"/>
            <a:ext cx="1625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latin typeface="+mj-lt"/>
              </a:rPr>
              <a:t>Tim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906368B-6363-A618-B1AE-90CB2BE7FA3E}"/>
              </a:ext>
            </a:extLst>
          </p:cNvPr>
          <p:cNvSpPr txBox="1"/>
          <p:nvPr/>
        </p:nvSpPr>
        <p:spPr>
          <a:xfrm rot="16200000">
            <a:off x="-82055" y="2648340"/>
            <a:ext cx="1625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latin typeface="+mj-lt"/>
              </a:rPr>
              <a:t>Inventory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8C529CD-1FC7-647B-C4B8-513600A7C5B6}"/>
              </a:ext>
            </a:extLst>
          </p:cNvPr>
          <p:cNvSpPr txBox="1"/>
          <p:nvPr/>
        </p:nvSpPr>
        <p:spPr>
          <a:xfrm>
            <a:off x="1743167" y="1971122"/>
            <a:ext cx="13274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latin typeface="+mj-lt"/>
              </a:rPr>
              <a:t>Demand curve</a:t>
            </a: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E5B8FA78-9CB4-52B5-B72B-E7C74DBB5133}"/>
              </a:ext>
            </a:extLst>
          </p:cNvPr>
          <p:cNvCxnSpPr/>
          <p:nvPr/>
        </p:nvCxnSpPr>
        <p:spPr>
          <a:xfrm flipV="1">
            <a:off x="1614310" y="2198301"/>
            <a:ext cx="214489" cy="33260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00B7797-6A77-BB48-06C5-8A3E38EF7490}"/>
              </a:ext>
            </a:extLst>
          </p:cNvPr>
          <p:cNvCxnSpPr>
            <a:cxnSpLocks/>
          </p:cNvCxnSpPr>
          <p:nvPr/>
        </p:nvCxnSpPr>
        <p:spPr>
          <a:xfrm>
            <a:off x="5034841" y="2530902"/>
            <a:ext cx="45156" cy="354252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9508DB8-C63B-653A-455D-6FAFBDBDC986}"/>
              </a:ext>
            </a:extLst>
          </p:cNvPr>
          <p:cNvSpPr txBox="1"/>
          <p:nvPr/>
        </p:nvSpPr>
        <p:spPr>
          <a:xfrm>
            <a:off x="3364090" y="5281355"/>
            <a:ext cx="16415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i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Assumed 2 weeks from PO to delivery of material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7A6D92-E1C9-4C36-09B1-B9D79F1D3AC4}"/>
              </a:ext>
            </a:extLst>
          </p:cNvPr>
          <p:cNvSpPr txBox="1"/>
          <p:nvPr/>
        </p:nvSpPr>
        <p:spPr>
          <a:xfrm>
            <a:off x="7631287" y="4970524"/>
            <a:ext cx="286173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200" i="1">
                <a:latin typeface="+mj-lt"/>
              </a:rPr>
              <a:t>Safety stock acts as a buffer against variability in demand and lead time. </a:t>
            </a:r>
            <a:endParaRPr lang="en-GB" sz="1200" i="1"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B7E8F0-0815-9105-CD2A-52C2C9EE4C4D}"/>
              </a:ext>
            </a:extLst>
          </p:cNvPr>
          <p:cNvSpPr txBox="1"/>
          <p:nvPr/>
        </p:nvSpPr>
        <p:spPr>
          <a:xfrm>
            <a:off x="7574323" y="5392712"/>
            <a:ext cx="19873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i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4 for the chosen </a:t>
            </a:r>
            <a:r>
              <a:rPr lang="en-GB" sz="1000" i="1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sku</a:t>
            </a:r>
            <a:r>
              <a:rPr lang="en-GB" sz="1000" i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 and sto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D87BA7C-A696-DD1F-D786-7F33D125152A}"/>
              </a:ext>
            </a:extLst>
          </p:cNvPr>
          <p:cNvSpPr txBox="1"/>
          <p:nvPr/>
        </p:nvSpPr>
        <p:spPr>
          <a:xfrm>
            <a:off x="7678685" y="4329385"/>
            <a:ext cx="19507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i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51 for the chosen </a:t>
            </a:r>
            <a:r>
              <a:rPr lang="en-GB" sz="1000" i="1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sku</a:t>
            </a:r>
            <a:r>
              <a:rPr lang="en-GB" sz="1000" i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 and sto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6BB332F-480F-CDC7-2F2F-50AA0B4D6556}"/>
              </a:ext>
            </a:extLst>
          </p:cNvPr>
          <p:cNvSpPr txBox="1"/>
          <p:nvPr/>
        </p:nvSpPr>
        <p:spPr>
          <a:xfrm>
            <a:off x="7678685" y="3727868"/>
            <a:ext cx="30744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200" i="1">
                <a:latin typeface="+mj-lt"/>
              </a:rPr>
              <a:t>Reorder point is the inventory level at which a new order should be placed to replenish stock before it runs out.</a:t>
            </a:r>
            <a:endParaRPr lang="en-GB" sz="1200" i="1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CBC999C-3C3B-E3CD-5130-3820A98C48E2}"/>
              </a:ext>
            </a:extLst>
          </p:cNvPr>
          <p:cNvSpPr txBox="1"/>
          <p:nvPr/>
        </p:nvSpPr>
        <p:spPr>
          <a:xfrm>
            <a:off x="530368" y="849950"/>
            <a:ext cx="28617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200" i="1">
                <a:latin typeface="+mj-lt"/>
              </a:rPr>
              <a:t>Based on demand forecast</a:t>
            </a:r>
            <a:endParaRPr lang="en-GB" sz="1200" i="1">
              <a:latin typeface="+mj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5AEABF1-AC3F-D740-2956-A53A3282AD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68" b="4416"/>
          <a:stretch/>
        </p:blipFill>
        <p:spPr>
          <a:xfrm>
            <a:off x="5341816" y="1137356"/>
            <a:ext cx="6225114" cy="189371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10418DD-C3A2-E431-D795-867AB63B80BC}"/>
              </a:ext>
            </a:extLst>
          </p:cNvPr>
          <p:cNvSpPr txBox="1"/>
          <p:nvPr/>
        </p:nvSpPr>
        <p:spPr>
          <a:xfrm>
            <a:off x="10631663" y="5993207"/>
            <a:ext cx="15603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b="1" i="1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Sku_</a:t>
            </a:r>
            <a:r>
              <a:rPr lang="en-IN" sz="1000" b="1" i="1" err="1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j-lt"/>
              </a:rPr>
              <a:t>id</a:t>
            </a:r>
            <a:r>
              <a:rPr lang="en-IN" sz="1000" b="1" i="1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j-lt"/>
              </a:rPr>
              <a:t> - </a:t>
            </a:r>
            <a:r>
              <a:rPr lang="en-IN" sz="1000" i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216419</a:t>
            </a:r>
            <a:endParaRPr lang="en-IN" sz="1000" b="1" i="1"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+mj-lt"/>
            </a:endParaRPr>
          </a:p>
          <a:p>
            <a:r>
              <a:rPr lang="en-IN" sz="1000" b="1" i="1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j-lt"/>
              </a:rPr>
              <a:t>Reorder Point: </a:t>
            </a:r>
            <a:r>
              <a:rPr lang="en-IN" sz="1000" b="0" i="1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j-lt"/>
              </a:rPr>
              <a:t>182.0</a:t>
            </a:r>
          </a:p>
          <a:p>
            <a:r>
              <a:rPr lang="en-IN" sz="1000" b="1" i="1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j-lt"/>
              </a:rPr>
              <a:t>Safety Stock: 48.0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AAD38660-D96F-D76E-4A72-E1823D314B7D}"/>
              </a:ext>
            </a:extLst>
          </p:cNvPr>
          <p:cNvSpPr/>
          <p:nvPr/>
        </p:nvSpPr>
        <p:spPr>
          <a:xfrm>
            <a:off x="4251682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PREPARTION</a:t>
            </a:r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9D25E47B-3A57-5133-842D-16F99AFD1E12}"/>
              </a:ext>
            </a:extLst>
          </p:cNvPr>
          <p:cNvSpPr/>
          <p:nvPr/>
        </p:nvSpPr>
        <p:spPr>
          <a:xfrm>
            <a:off x="6215940" y="6561469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ODEL EVALUATION &amp; PREDICTION</a:t>
            </a:r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8738D5D3-CAB8-E671-3CBF-37D66706F528}"/>
              </a:ext>
            </a:extLst>
          </p:cNvPr>
          <p:cNvSpPr/>
          <p:nvPr/>
        </p:nvSpPr>
        <p:spPr>
          <a:xfrm>
            <a:off x="8180198" y="6561104"/>
            <a:ext cx="2077134" cy="296896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INVENTORY REPLENISHMENT</a:t>
            </a:r>
          </a:p>
        </p:txBody>
      </p:sp>
      <p:sp>
        <p:nvSpPr>
          <p:cNvPr id="33" name="Arrow: Chevron 32">
            <a:extLst>
              <a:ext uri="{FF2B5EF4-FFF2-40B4-BE49-F238E27FC236}">
                <a16:creationId xmlns:a16="http://schemas.microsoft.com/office/drawing/2014/main" id="{15F937EA-9DCD-1745-115F-5A2DD8BDAFA0}"/>
              </a:ext>
            </a:extLst>
          </p:cNvPr>
          <p:cNvSpPr/>
          <p:nvPr/>
        </p:nvSpPr>
        <p:spPr>
          <a:xfrm>
            <a:off x="10144455" y="6561104"/>
            <a:ext cx="2047545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BENEFITS TO EBs and TBH</a:t>
            </a:r>
          </a:p>
        </p:txBody>
      </p:sp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A04539D-355E-E078-628D-DD0CDE6D5C02}"/>
              </a:ext>
            </a:extLst>
          </p:cNvPr>
          <p:cNvSpPr/>
          <p:nvPr/>
        </p:nvSpPr>
        <p:spPr>
          <a:xfrm>
            <a:off x="2287424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&amp; METHOD COMPARISON</a:t>
            </a:r>
          </a:p>
        </p:txBody>
      </p:sp>
      <p:sp>
        <p:nvSpPr>
          <p:cNvPr id="35" name="Arrow: Pentagon 34">
            <a:extLst>
              <a:ext uri="{FF2B5EF4-FFF2-40B4-BE49-F238E27FC236}">
                <a16:creationId xmlns:a16="http://schemas.microsoft.com/office/drawing/2014/main" id="{8A632739-C01A-C44B-5BF0-BE0C4F365AB1}"/>
              </a:ext>
            </a:extLst>
          </p:cNvPr>
          <p:cNvSpPr/>
          <p:nvPr/>
        </p:nvSpPr>
        <p:spPr>
          <a:xfrm>
            <a:off x="0" y="6565900"/>
            <a:ext cx="2400300" cy="2921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PAIN POINTS/GAPS</a:t>
            </a:r>
          </a:p>
        </p:txBody>
      </p:sp>
    </p:spTree>
    <p:extLst>
      <p:ext uri="{BB962C8B-B14F-4D97-AF65-F5344CB8AC3E}">
        <p14:creationId xmlns:p14="http://schemas.microsoft.com/office/powerpoint/2010/main" val="5481981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8D0DE0-522F-29B0-8202-964439F707B1}"/>
              </a:ext>
            </a:extLst>
          </p:cNvPr>
          <p:cNvSpPr txBox="1">
            <a:spLocks/>
          </p:cNvSpPr>
          <p:nvPr/>
        </p:nvSpPr>
        <p:spPr>
          <a:xfrm>
            <a:off x="510271" y="459609"/>
            <a:ext cx="10933350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>
                <a:solidFill>
                  <a:schemeClr val="accent1">
                    <a:lumMod val="75000"/>
                  </a:schemeClr>
                </a:solidFill>
              </a:rPr>
              <a:t>BENEFITS </a:t>
            </a:r>
            <a:r>
              <a:rPr lang="en-IN">
                <a:solidFill>
                  <a:schemeClr val="tx1"/>
                </a:solidFill>
              </a:rPr>
              <a:t>TO CUSTOMER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ECCAC30-E874-5C66-B1E6-8B2BC29D215E}"/>
              </a:ext>
            </a:extLst>
          </p:cNvPr>
          <p:cNvSpPr/>
          <p:nvPr/>
        </p:nvSpPr>
        <p:spPr>
          <a:xfrm>
            <a:off x="445911" y="5559991"/>
            <a:ext cx="11300178" cy="101600"/>
          </a:xfrm>
          <a:prstGeom prst="roundRect">
            <a:avLst/>
          </a:prstGeom>
          <a:gradFill>
            <a:gsLst>
              <a:gs pos="1835">
                <a:schemeClr val="bg1"/>
              </a:gs>
              <a:gs pos="21000">
                <a:schemeClr val="bg1">
                  <a:lumMod val="85000"/>
                </a:schemeClr>
              </a:gs>
              <a:gs pos="71000">
                <a:schemeClr val="bg1">
                  <a:lumMod val="85000"/>
                </a:schemeClr>
              </a:gs>
              <a:gs pos="83000">
                <a:schemeClr val="bg1">
                  <a:lumMod val="85000"/>
                </a:schemeClr>
              </a:gs>
              <a:gs pos="89000">
                <a:schemeClr val="bg1"/>
              </a:gs>
              <a:gs pos="67000">
                <a:schemeClr val="bg1">
                  <a:lumMod val="85000"/>
                </a:schemeClr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EEEF77D-E2C5-1E45-4E20-C68244772591}"/>
              </a:ext>
            </a:extLst>
          </p:cNvPr>
          <p:cNvGrpSpPr/>
          <p:nvPr/>
        </p:nvGrpSpPr>
        <p:grpSpPr>
          <a:xfrm>
            <a:off x="1379417" y="1216590"/>
            <a:ext cx="10031465" cy="4968221"/>
            <a:chOff x="1528003" y="1216590"/>
            <a:chExt cx="10031465" cy="4968221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5C5C01C-AB85-0D6E-A435-C14F63A3399E}"/>
                </a:ext>
              </a:extLst>
            </p:cNvPr>
            <p:cNvGrpSpPr/>
            <p:nvPr/>
          </p:nvGrpSpPr>
          <p:grpSpPr>
            <a:xfrm>
              <a:off x="1528003" y="2043501"/>
              <a:ext cx="2708940" cy="4141310"/>
              <a:chOff x="1528003" y="2043501"/>
              <a:chExt cx="2708940" cy="4141310"/>
            </a:xfrm>
          </p:grpSpPr>
          <p:sp>
            <p:nvSpPr>
              <p:cNvPr id="5" name="Circle: Hollow 4">
                <a:extLst>
                  <a:ext uri="{FF2B5EF4-FFF2-40B4-BE49-F238E27FC236}">
                    <a16:creationId xmlns:a16="http://schemas.microsoft.com/office/drawing/2014/main" id="{1A2EAD9A-4F67-ACB1-C50A-E04C1AB46AC0}"/>
                  </a:ext>
                </a:extLst>
              </p:cNvPr>
              <p:cNvSpPr/>
              <p:nvPr/>
            </p:nvSpPr>
            <p:spPr>
              <a:xfrm>
                <a:off x="1528003" y="2043501"/>
                <a:ext cx="1196623" cy="1151467"/>
              </a:xfrm>
              <a:prstGeom prst="donut">
                <a:avLst>
                  <a:gd name="adj" fmla="val 10804"/>
                </a:avLst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32793778-01D4-FA7E-3432-B1395BADE7A2}"/>
                  </a:ext>
                </a:extLst>
              </p:cNvPr>
              <p:cNvSpPr/>
              <p:nvPr/>
            </p:nvSpPr>
            <p:spPr>
              <a:xfrm>
                <a:off x="1708627" y="2224124"/>
                <a:ext cx="835376" cy="778932"/>
              </a:xfrm>
              <a:prstGeom prst="ellipse">
                <a:avLst/>
              </a:prstGeom>
              <a:noFill/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EE022894-9482-102F-9783-E2102863656A}"/>
                  </a:ext>
                </a:extLst>
              </p:cNvPr>
              <p:cNvCxnSpPr>
                <a:stCxn id="5" idx="4"/>
              </p:cNvCxnSpPr>
              <p:nvPr/>
            </p:nvCxnSpPr>
            <p:spPr>
              <a:xfrm flipH="1">
                <a:off x="2126314" y="3194968"/>
                <a:ext cx="1" cy="2365023"/>
              </a:xfrm>
              <a:prstGeom prst="line">
                <a:avLst/>
              </a:prstGeom>
              <a:ln w="28575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D502755E-A422-D46F-875E-1380438D42ED}"/>
                  </a:ext>
                </a:extLst>
              </p:cNvPr>
              <p:cNvSpPr txBox="1"/>
              <p:nvPr/>
            </p:nvSpPr>
            <p:spPr>
              <a:xfrm>
                <a:off x="1708626" y="5661591"/>
                <a:ext cx="83537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2800" b="1">
                    <a:solidFill>
                      <a:schemeClr val="accent3">
                        <a:lumMod val="60000"/>
                        <a:lumOff val="40000"/>
                      </a:schemeClr>
                    </a:solidFill>
                    <a:latin typeface="+mj-lt"/>
                  </a:rPr>
                  <a:t>01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AAAD5BCB-3AE2-2E01-6FDB-CC96BD119124}"/>
                  </a:ext>
                </a:extLst>
              </p:cNvPr>
              <p:cNvSpPr txBox="1"/>
              <p:nvPr/>
            </p:nvSpPr>
            <p:spPr>
              <a:xfrm>
                <a:off x="2141861" y="3375591"/>
                <a:ext cx="2095082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b="1">
                    <a:solidFill>
                      <a:schemeClr val="accent3">
                        <a:lumMod val="60000"/>
                        <a:lumOff val="40000"/>
                      </a:schemeClr>
                    </a:solidFill>
                    <a:latin typeface="+mj-lt"/>
                  </a:rPr>
                  <a:t>Identify Demand Patterns &amp; Dependence on External Factors</a:t>
                </a: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4BDC7CEB-29A2-2105-0B53-4B75D713AE6F}"/>
                  </a:ext>
                </a:extLst>
              </p:cNvPr>
              <p:cNvSpPr txBox="1"/>
              <p:nvPr/>
            </p:nvSpPr>
            <p:spPr>
              <a:xfrm>
                <a:off x="2160360" y="4537190"/>
                <a:ext cx="1678373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200">
                    <a:latin typeface="+mj-lt"/>
                  </a:rPr>
                  <a:t>Better adaptation to demand variability therefore improved production planning.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B858192-2415-414E-10DA-6ED6C828171A}"/>
                </a:ext>
              </a:extLst>
            </p:cNvPr>
            <p:cNvGrpSpPr/>
            <p:nvPr/>
          </p:nvGrpSpPr>
          <p:grpSpPr>
            <a:xfrm>
              <a:off x="4056325" y="2582545"/>
              <a:ext cx="2872562" cy="3602266"/>
              <a:chOff x="3361361" y="2582545"/>
              <a:chExt cx="2872562" cy="3602266"/>
            </a:xfrm>
          </p:grpSpPr>
          <p:sp>
            <p:nvSpPr>
              <p:cNvPr id="10" name="Circle: Hollow 9">
                <a:extLst>
                  <a:ext uri="{FF2B5EF4-FFF2-40B4-BE49-F238E27FC236}">
                    <a16:creationId xmlns:a16="http://schemas.microsoft.com/office/drawing/2014/main" id="{C1E2BB4D-C493-D822-009E-E7E8419BEEF1}"/>
                  </a:ext>
                </a:extLst>
              </p:cNvPr>
              <p:cNvSpPr/>
              <p:nvPr/>
            </p:nvSpPr>
            <p:spPr>
              <a:xfrm>
                <a:off x="3361361" y="2582545"/>
                <a:ext cx="1196623" cy="1151467"/>
              </a:xfrm>
              <a:prstGeom prst="donut">
                <a:avLst>
                  <a:gd name="adj" fmla="val 10804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8BA1C8B0-9997-BC77-F209-C44C343967A2}"/>
                  </a:ext>
                </a:extLst>
              </p:cNvPr>
              <p:cNvSpPr/>
              <p:nvPr/>
            </p:nvSpPr>
            <p:spPr>
              <a:xfrm>
                <a:off x="3541985" y="2763168"/>
                <a:ext cx="835376" cy="778932"/>
              </a:xfrm>
              <a:prstGeom prst="ellipse">
                <a:avLst/>
              </a:prstGeom>
              <a:noFill/>
              <a:ln w="1905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76511960-5A9C-FA4E-B761-18C2FA9970FD}"/>
                  </a:ext>
                </a:extLst>
              </p:cNvPr>
              <p:cNvCxnSpPr>
                <a:stCxn id="10" idx="4"/>
              </p:cNvCxnSpPr>
              <p:nvPr/>
            </p:nvCxnSpPr>
            <p:spPr>
              <a:xfrm flipH="1">
                <a:off x="3959672" y="3734012"/>
                <a:ext cx="1" cy="1825979"/>
              </a:xfrm>
              <a:prstGeom prst="line">
                <a:avLst/>
              </a:prstGeom>
              <a:ln w="28575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EE4490DC-6215-FFA0-5FCD-ED8B65EEA061}"/>
                  </a:ext>
                </a:extLst>
              </p:cNvPr>
              <p:cNvSpPr txBox="1"/>
              <p:nvPr/>
            </p:nvSpPr>
            <p:spPr>
              <a:xfrm>
                <a:off x="3539557" y="5661591"/>
                <a:ext cx="83537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2800" b="1">
                    <a:solidFill>
                      <a:schemeClr val="accent2">
                        <a:lumMod val="60000"/>
                        <a:lumOff val="40000"/>
                      </a:schemeClr>
                    </a:solidFill>
                    <a:latin typeface="+mj-lt"/>
                  </a:rPr>
                  <a:t>02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252B6A0A-CB92-A9CF-F52D-7EBA4D3B0DE5}"/>
                  </a:ext>
                </a:extLst>
              </p:cNvPr>
              <p:cNvSpPr txBox="1"/>
              <p:nvPr/>
            </p:nvSpPr>
            <p:spPr>
              <a:xfrm>
                <a:off x="3973524" y="3768655"/>
                <a:ext cx="226039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b="1">
                    <a:solidFill>
                      <a:schemeClr val="accent2">
                        <a:lumMod val="60000"/>
                        <a:lumOff val="40000"/>
                      </a:schemeClr>
                    </a:solidFill>
                    <a:latin typeface="+mj-lt"/>
                  </a:rPr>
                  <a:t>Reduce inventory holding cost 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555B9486-D182-05EE-AB38-12355D4D8B27}"/>
                  </a:ext>
                </a:extLst>
              </p:cNvPr>
              <p:cNvSpPr txBox="1"/>
              <p:nvPr/>
            </p:nvSpPr>
            <p:spPr>
              <a:xfrm>
                <a:off x="3992387" y="4375458"/>
                <a:ext cx="1934600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200">
                    <a:latin typeface="+mj-lt"/>
                  </a:rPr>
                  <a:t>Reduce costs associated with storage, maintenance, and obsolescence</a:t>
                </a:r>
                <a:endParaRPr lang="en-GB" sz="1200" b="1" i="1">
                  <a:solidFill>
                    <a:schemeClr val="bg2">
                      <a:lumMod val="2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92E313D-814C-CD47-51F0-2A36FA052DDE}"/>
                </a:ext>
              </a:extLst>
            </p:cNvPr>
            <p:cNvGrpSpPr/>
            <p:nvPr/>
          </p:nvGrpSpPr>
          <p:grpSpPr>
            <a:xfrm>
              <a:off x="6586810" y="2187434"/>
              <a:ext cx="2721619" cy="3991352"/>
              <a:chOff x="5194719" y="2187434"/>
              <a:chExt cx="2721619" cy="3991352"/>
            </a:xfrm>
          </p:grpSpPr>
          <p:sp>
            <p:nvSpPr>
              <p:cNvPr id="14" name="Circle: Hollow 13">
                <a:extLst>
                  <a:ext uri="{FF2B5EF4-FFF2-40B4-BE49-F238E27FC236}">
                    <a16:creationId xmlns:a16="http://schemas.microsoft.com/office/drawing/2014/main" id="{9AAE7358-0A0E-1449-46F9-81EB31C9E6EC}"/>
                  </a:ext>
                </a:extLst>
              </p:cNvPr>
              <p:cNvSpPr/>
              <p:nvPr/>
            </p:nvSpPr>
            <p:spPr>
              <a:xfrm>
                <a:off x="5194719" y="2187434"/>
                <a:ext cx="1196623" cy="1151467"/>
              </a:xfrm>
              <a:prstGeom prst="donut">
                <a:avLst>
                  <a:gd name="adj" fmla="val 10804"/>
                </a:avLst>
              </a:prstGeom>
              <a:solidFill>
                <a:srgbClr val="44BF3B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BA889A06-E95E-B542-F9FE-CE8AE027621F}"/>
                  </a:ext>
                </a:extLst>
              </p:cNvPr>
              <p:cNvSpPr/>
              <p:nvPr/>
            </p:nvSpPr>
            <p:spPr>
              <a:xfrm>
                <a:off x="5375343" y="2368057"/>
                <a:ext cx="835376" cy="778932"/>
              </a:xfrm>
              <a:prstGeom prst="ellipse">
                <a:avLst/>
              </a:prstGeom>
              <a:noFill/>
              <a:ln w="19050">
                <a:solidFill>
                  <a:srgbClr val="44BF3B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3F67A32A-F0E6-BEDB-EA82-E1DA1F5DF578}"/>
                  </a:ext>
                </a:extLst>
              </p:cNvPr>
              <p:cNvCxnSpPr>
                <a:stCxn id="14" idx="4"/>
              </p:cNvCxnSpPr>
              <p:nvPr/>
            </p:nvCxnSpPr>
            <p:spPr>
              <a:xfrm flipH="1">
                <a:off x="5793030" y="3338901"/>
                <a:ext cx="1" cy="2221090"/>
              </a:xfrm>
              <a:prstGeom prst="line">
                <a:avLst/>
              </a:prstGeom>
              <a:ln w="28575">
                <a:solidFill>
                  <a:srgbClr val="44BF3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5EAAFF63-76BB-77C1-AD25-B017AFB9C66C}"/>
                  </a:ext>
                </a:extLst>
              </p:cNvPr>
              <p:cNvSpPr txBox="1"/>
              <p:nvPr/>
            </p:nvSpPr>
            <p:spPr>
              <a:xfrm>
                <a:off x="5370488" y="5655566"/>
                <a:ext cx="83537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2800" b="1">
                    <a:solidFill>
                      <a:srgbClr val="44BF3B"/>
                    </a:solidFill>
                    <a:latin typeface="+mj-lt"/>
                  </a:rPr>
                  <a:t>03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8677EF50-DEDD-E887-6CE1-39C040F5D727}"/>
                  </a:ext>
                </a:extLst>
              </p:cNvPr>
              <p:cNvSpPr txBox="1"/>
              <p:nvPr/>
            </p:nvSpPr>
            <p:spPr>
              <a:xfrm>
                <a:off x="5806883" y="3357754"/>
                <a:ext cx="2109455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b="1">
                    <a:solidFill>
                      <a:srgbClr val="44BF3B"/>
                    </a:solidFill>
                    <a:latin typeface="+mj-lt"/>
                  </a:rPr>
                  <a:t>Improved cash flow</a:t>
                </a: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A944723B-8311-15D4-0A59-0EA9D9540C36}"/>
                  </a:ext>
                </a:extLst>
              </p:cNvPr>
              <p:cNvSpPr txBox="1"/>
              <p:nvPr/>
            </p:nvSpPr>
            <p:spPr>
              <a:xfrm>
                <a:off x="5819025" y="3951040"/>
                <a:ext cx="1794575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1200">
                    <a:latin typeface="+mj-lt"/>
                  </a:rPr>
                  <a:t>Maintain optimal inventory levels based on actual demand; better </a:t>
                </a:r>
                <a:r>
                  <a:rPr lang="en-IN" sz="1200"/>
                  <a:t>inventory turnover</a:t>
                </a:r>
                <a:endParaRPr lang="en-GB" sz="1200" b="1" i="1">
                  <a:solidFill>
                    <a:schemeClr val="bg2">
                      <a:lumMod val="2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7158800-6DFD-3FBF-5AF1-3A5C1D1004AA}"/>
                </a:ext>
              </a:extLst>
            </p:cNvPr>
            <p:cNvGrpSpPr/>
            <p:nvPr/>
          </p:nvGrpSpPr>
          <p:grpSpPr>
            <a:xfrm>
              <a:off x="9127811" y="1216590"/>
              <a:ext cx="2431657" cy="4962196"/>
              <a:chOff x="7028077" y="1216590"/>
              <a:chExt cx="2431657" cy="4962196"/>
            </a:xfrm>
          </p:grpSpPr>
          <p:sp>
            <p:nvSpPr>
              <p:cNvPr id="17" name="Circle: Hollow 16">
                <a:extLst>
                  <a:ext uri="{FF2B5EF4-FFF2-40B4-BE49-F238E27FC236}">
                    <a16:creationId xmlns:a16="http://schemas.microsoft.com/office/drawing/2014/main" id="{D49FC03D-B33B-D766-E09F-6F51ACA27A13}"/>
                  </a:ext>
                </a:extLst>
              </p:cNvPr>
              <p:cNvSpPr/>
              <p:nvPr/>
            </p:nvSpPr>
            <p:spPr>
              <a:xfrm>
                <a:off x="7028077" y="1216590"/>
                <a:ext cx="1196623" cy="1151467"/>
              </a:xfrm>
              <a:prstGeom prst="donut">
                <a:avLst>
                  <a:gd name="adj" fmla="val 10804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AD2A13CE-23CD-DA35-29E5-3BA7815BCA0F}"/>
                  </a:ext>
                </a:extLst>
              </p:cNvPr>
              <p:cNvSpPr/>
              <p:nvPr/>
            </p:nvSpPr>
            <p:spPr>
              <a:xfrm>
                <a:off x="7208701" y="1397213"/>
                <a:ext cx="835376" cy="778932"/>
              </a:xfrm>
              <a:prstGeom prst="ellipse">
                <a:avLst/>
              </a:prstGeom>
              <a:noFill/>
              <a:ln w="1905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B44E4C13-F049-44BB-06CC-3C6E21F45A40}"/>
                  </a:ext>
                </a:extLst>
              </p:cNvPr>
              <p:cNvCxnSpPr>
                <a:stCxn id="17" idx="4"/>
              </p:cNvCxnSpPr>
              <p:nvPr/>
            </p:nvCxnSpPr>
            <p:spPr>
              <a:xfrm flipH="1">
                <a:off x="7626388" y="2368057"/>
                <a:ext cx="1" cy="3191934"/>
              </a:xfrm>
              <a:prstGeom prst="line">
                <a:avLst/>
              </a:prstGeom>
              <a:ln w="28575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0C5E35E4-D5AB-EBDF-2592-FC2797B7F033}"/>
                  </a:ext>
                </a:extLst>
              </p:cNvPr>
              <p:cNvSpPr txBox="1"/>
              <p:nvPr/>
            </p:nvSpPr>
            <p:spPr>
              <a:xfrm>
                <a:off x="7210535" y="5655566"/>
                <a:ext cx="83537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2800" b="1">
                    <a:solidFill>
                      <a:schemeClr val="accent1">
                        <a:lumMod val="60000"/>
                        <a:lumOff val="40000"/>
                      </a:schemeClr>
                    </a:solidFill>
                    <a:latin typeface="+mj-lt"/>
                  </a:rPr>
                  <a:t>04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180BCFC7-3155-D3EF-46B3-3B30466F7E16}"/>
                  </a:ext>
                </a:extLst>
              </p:cNvPr>
              <p:cNvSpPr txBox="1"/>
              <p:nvPr/>
            </p:nvSpPr>
            <p:spPr>
              <a:xfrm>
                <a:off x="7641191" y="2548680"/>
                <a:ext cx="1818543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b="1">
                    <a:solidFill>
                      <a:schemeClr val="accent1">
                        <a:lumMod val="60000"/>
                        <a:lumOff val="40000"/>
                      </a:schemeClr>
                    </a:solidFill>
                    <a:latin typeface="+mj-lt"/>
                  </a:rPr>
                  <a:t>Reduce stock outs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FAFC66DE-CFF6-531D-D4D0-53C990D04DA3}"/>
                  </a:ext>
                </a:extLst>
              </p:cNvPr>
              <p:cNvSpPr txBox="1"/>
              <p:nvPr/>
            </p:nvSpPr>
            <p:spPr>
              <a:xfrm>
                <a:off x="7648066" y="2788572"/>
                <a:ext cx="123877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en-GB" sz="1200" b="1" i="1">
                  <a:solidFill>
                    <a:schemeClr val="bg2">
                      <a:lumMod val="25000"/>
                    </a:schemeClr>
                  </a:solidFill>
                  <a:latin typeface="+mj-lt"/>
                </a:endParaRPr>
              </a:p>
            </p:txBody>
          </p:sp>
        </p:grpSp>
      </p:grpSp>
      <p:pic>
        <p:nvPicPr>
          <p:cNvPr id="2050" name="Picture 2" descr="Supply And Demand Icons - Free SVG &amp; PNG Supply And Demand Images - Noun  Project">
            <a:extLst>
              <a:ext uri="{FF2B5EF4-FFF2-40B4-BE49-F238E27FC236}">
                <a16:creationId xmlns:a16="http://schemas.microsoft.com/office/drawing/2014/main" id="{21E058A9-9B47-4E54-09EC-B290F0F9FC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7131" y="2408639"/>
            <a:ext cx="412288" cy="41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nventory icons for free download | Freepik">
            <a:extLst>
              <a:ext uri="{FF2B5EF4-FFF2-40B4-BE49-F238E27FC236}">
                <a16:creationId xmlns:a16="http://schemas.microsoft.com/office/drawing/2014/main" id="{ECC3EFEF-275A-336C-3F20-247CA53C20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0194" y="2901648"/>
            <a:ext cx="490681" cy="490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Cash-Payment Vector Icons free download in SVG, PNG Format">
            <a:extLst>
              <a:ext uri="{FF2B5EF4-FFF2-40B4-BE49-F238E27FC236}">
                <a16:creationId xmlns:a16="http://schemas.microsoft.com/office/drawing/2014/main" id="{6F0B04C5-6BEE-738E-F48B-85696C8715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8951" y="2515068"/>
            <a:ext cx="496199" cy="496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7136523-E7F1-3346-2937-621B3FA12332}"/>
              </a:ext>
            </a:extLst>
          </p:cNvPr>
          <p:cNvSpPr txBox="1"/>
          <p:nvPr/>
        </p:nvSpPr>
        <p:spPr>
          <a:xfrm>
            <a:off x="9604322" y="3136387"/>
            <a:ext cx="17945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>
                <a:latin typeface="+mj-lt"/>
              </a:rPr>
              <a:t>Setting optimal reorder point and maintaining safety stock ensures that businesses maintain adequate inventory levels </a:t>
            </a:r>
            <a:endParaRPr lang="en-GB" sz="1200">
              <a:latin typeface="+mj-lt"/>
            </a:endParaRPr>
          </a:p>
        </p:txBody>
      </p:sp>
      <p:pic>
        <p:nvPicPr>
          <p:cNvPr id="2058" name="Picture 10" descr="Out Of Stocks Icons - Free SVG &amp; PNG Out Of Stocks Images - Noun Project">
            <a:extLst>
              <a:ext uri="{FF2B5EF4-FFF2-40B4-BE49-F238E27FC236}">
                <a16:creationId xmlns:a16="http://schemas.microsoft.com/office/drawing/2014/main" id="{6BE8BB31-E4AB-ACA0-3DF5-2B43C2A6D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5194" y="1524000"/>
            <a:ext cx="530388" cy="53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472BDBEE-63D4-A362-44D3-A5D9D632C09D}"/>
              </a:ext>
            </a:extLst>
          </p:cNvPr>
          <p:cNvSpPr/>
          <p:nvPr/>
        </p:nvSpPr>
        <p:spPr>
          <a:xfrm>
            <a:off x="4251682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PREPARTION</a:t>
            </a: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D90DADB7-70EA-842E-24A5-44206F7A5BC3}"/>
              </a:ext>
            </a:extLst>
          </p:cNvPr>
          <p:cNvSpPr/>
          <p:nvPr/>
        </p:nvSpPr>
        <p:spPr>
          <a:xfrm>
            <a:off x="6215940" y="6561469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ODEL EVALUATION &amp; PREDICTION</a:t>
            </a: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06F5DBAC-9AA0-A1CA-21AA-E9FCF9A6D6CD}"/>
              </a:ext>
            </a:extLst>
          </p:cNvPr>
          <p:cNvSpPr/>
          <p:nvPr/>
        </p:nvSpPr>
        <p:spPr>
          <a:xfrm>
            <a:off x="8180198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INVENTORY REPLENISHMENT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31FE11C4-2371-67EA-5937-89226C91E397}"/>
              </a:ext>
            </a:extLst>
          </p:cNvPr>
          <p:cNvSpPr/>
          <p:nvPr/>
        </p:nvSpPr>
        <p:spPr>
          <a:xfrm>
            <a:off x="10144455" y="6561104"/>
            <a:ext cx="2047545" cy="296896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BENEFITS TO EBs and TBH</a:t>
            </a:r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A3FA1DA3-BA02-FB8D-AE40-1157995C9308}"/>
              </a:ext>
            </a:extLst>
          </p:cNvPr>
          <p:cNvSpPr/>
          <p:nvPr/>
        </p:nvSpPr>
        <p:spPr>
          <a:xfrm>
            <a:off x="2287424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ETHOD COMPARISON &amp; DATA</a:t>
            </a:r>
          </a:p>
        </p:txBody>
      </p:sp>
      <p:sp>
        <p:nvSpPr>
          <p:cNvPr id="33" name="Arrow: Pentagon 32">
            <a:extLst>
              <a:ext uri="{FF2B5EF4-FFF2-40B4-BE49-F238E27FC236}">
                <a16:creationId xmlns:a16="http://schemas.microsoft.com/office/drawing/2014/main" id="{396ED287-BCC0-D449-7BC2-AEBC88FF8446}"/>
              </a:ext>
            </a:extLst>
          </p:cNvPr>
          <p:cNvSpPr/>
          <p:nvPr/>
        </p:nvSpPr>
        <p:spPr>
          <a:xfrm>
            <a:off x="0" y="6565900"/>
            <a:ext cx="2400300" cy="2921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PAIN POINTS/GAPS</a:t>
            </a:r>
          </a:p>
        </p:txBody>
      </p:sp>
    </p:spTree>
    <p:extLst>
      <p:ext uri="{BB962C8B-B14F-4D97-AF65-F5344CB8AC3E}">
        <p14:creationId xmlns:p14="http://schemas.microsoft.com/office/powerpoint/2010/main" val="41872360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8D0DE0-522F-29B0-8202-964439F707B1}"/>
              </a:ext>
            </a:extLst>
          </p:cNvPr>
          <p:cNvSpPr txBox="1">
            <a:spLocks/>
          </p:cNvSpPr>
          <p:nvPr/>
        </p:nvSpPr>
        <p:spPr>
          <a:xfrm>
            <a:off x="510271" y="459609"/>
            <a:ext cx="10933350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>
                <a:solidFill>
                  <a:schemeClr val="accent1">
                    <a:lumMod val="75000"/>
                  </a:schemeClr>
                </a:solidFill>
              </a:rPr>
              <a:t>BENEFITS </a:t>
            </a:r>
            <a:r>
              <a:rPr lang="en-IN">
                <a:solidFill>
                  <a:schemeClr val="tx1"/>
                </a:solidFill>
              </a:rPr>
              <a:t>TO TBH</a:t>
            </a:r>
          </a:p>
        </p:txBody>
      </p:sp>
      <p:sp>
        <p:nvSpPr>
          <p:cNvPr id="7171" name="Arrow: Chevron 7170">
            <a:extLst>
              <a:ext uri="{FF2B5EF4-FFF2-40B4-BE49-F238E27FC236}">
                <a16:creationId xmlns:a16="http://schemas.microsoft.com/office/drawing/2014/main" id="{240AF2BA-946F-5FCA-C956-A8943E417E86}"/>
              </a:ext>
            </a:extLst>
          </p:cNvPr>
          <p:cNvSpPr/>
          <p:nvPr/>
        </p:nvSpPr>
        <p:spPr>
          <a:xfrm>
            <a:off x="4251682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PREPARTION</a:t>
            </a:r>
          </a:p>
        </p:txBody>
      </p:sp>
      <p:sp>
        <p:nvSpPr>
          <p:cNvPr id="7172" name="Arrow: Chevron 7171">
            <a:extLst>
              <a:ext uri="{FF2B5EF4-FFF2-40B4-BE49-F238E27FC236}">
                <a16:creationId xmlns:a16="http://schemas.microsoft.com/office/drawing/2014/main" id="{F320A620-CEBF-7A42-AED2-2AAE79CB4AEF}"/>
              </a:ext>
            </a:extLst>
          </p:cNvPr>
          <p:cNvSpPr/>
          <p:nvPr/>
        </p:nvSpPr>
        <p:spPr>
          <a:xfrm>
            <a:off x="6215940" y="6561469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ODEL EVALUATION &amp; PREDICTION</a:t>
            </a:r>
          </a:p>
        </p:txBody>
      </p:sp>
      <p:sp>
        <p:nvSpPr>
          <p:cNvPr id="7173" name="Arrow: Chevron 7172">
            <a:extLst>
              <a:ext uri="{FF2B5EF4-FFF2-40B4-BE49-F238E27FC236}">
                <a16:creationId xmlns:a16="http://schemas.microsoft.com/office/drawing/2014/main" id="{7E077EC0-B8B6-619E-9BCB-A93D23D21A32}"/>
              </a:ext>
            </a:extLst>
          </p:cNvPr>
          <p:cNvSpPr/>
          <p:nvPr/>
        </p:nvSpPr>
        <p:spPr>
          <a:xfrm>
            <a:off x="8180198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INVENTORY REPLENISHMENT</a:t>
            </a:r>
          </a:p>
        </p:txBody>
      </p:sp>
      <p:sp>
        <p:nvSpPr>
          <p:cNvPr id="7174" name="Arrow: Chevron 7173">
            <a:extLst>
              <a:ext uri="{FF2B5EF4-FFF2-40B4-BE49-F238E27FC236}">
                <a16:creationId xmlns:a16="http://schemas.microsoft.com/office/drawing/2014/main" id="{70018D39-7BED-0EF9-72E0-ED694486956F}"/>
              </a:ext>
            </a:extLst>
          </p:cNvPr>
          <p:cNvSpPr/>
          <p:nvPr/>
        </p:nvSpPr>
        <p:spPr>
          <a:xfrm>
            <a:off x="10144455" y="6561104"/>
            <a:ext cx="2047545" cy="296896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BENEFITS TO EBs and TBH</a:t>
            </a:r>
          </a:p>
        </p:txBody>
      </p:sp>
      <p:sp>
        <p:nvSpPr>
          <p:cNvPr id="7175" name="Arrow: Chevron 7174">
            <a:extLst>
              <a:ext uri="{FF2B5EF4-FFF2-40B4-BE49-F238E27FC236}">
                <a16:creationId xmlns:a16="http://schemas.microsoft.com/office/drawing/2014/main" id="{140A8E97-FDBF-D2E2-0AE8-3FA46159A5B2}"/>
              </a:ext>
            </a:extLst>
          </p:cNvPr>
          <p:cNvSpPr/>
          <p:nvPr/>
        </p:nvSpPr>
        <p:spPr>
          <a:xfrm>
            <a:off x="2287424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ETHOD COMPARISON &amp; DATA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382DBCC-4C02-3982-BD9D-F2E134DF5FFA}"/>
              </a:ext>
            </a:extLst>
          </p:cNvPr>
          <p:cNvGrpSpPr/>
          <p:nvPr/>
        </p:nvGrpSpPr>
        <p:grpSpPr>
          <a:xfrm>
            <a:off x="3220484" y="1638172"/>
            <a:ext cx="6277019" cy="4922567"/>
            <a:chOff x="3781381" y="1196879"/>
            <a:chExt cx="4581806" cy="3502301"/>
          </a:xfrm>
        </p:grpSpPr>
        <p:sp>
          <p:nvSpPr>
            <p:cNvPr id="6" name="Google Shape;694;p8">
              <a:extLst>
                <a:ext uri="{FF2B5EF4-FFF2-40B4-BE49-F238E27FC236}">
                  <a16:creationId xmlns:a16="http://schemas.microsoft.com/office/drawing/2014/main" id="{26DF8259-63DD-C78B-5800-D9B0562F9505}"/>
                </a:ext>
              </a:extLst>
            </p:cNvPr>
            <p:cNvSpPr/>
            <p:nvPr/>
          </p:nvSpPr>
          <p:spPr>
            <a:xfrm>
              <a:off x="5358252" y="1196879"/>
              <a:ext cx="3004934" cy="820705"/>
            </a:xfrm>
            <a:custGeom>
              <a:avLst/>
              <a:gdLst/>
              <a:ahLst/>
              <a:cxnLst/>
              <a:rect l="l" t="t" r="r" b="b"/>
              <a:pathLst>
                <a:path w="5338700" h="1280993" extrusionOk="0">
                  <a:moveTo>
                    <a:pt x="419725" y="0"/>
                  </a:moveTo>
                  <a:lnTo>
                    <a:pt x="5338700" y="0"/>
                  </a:lnTo>
                  <a:lnTo>
                    <a:pt x="5338700" y="1251012"/>
                  </a:lnTo>
                  <a:lnTo>
                    <a:pt x="0" y="1280993"/>
                  </a:lnTo>
                  <a:lnTo>
                    <a:pt x="419725" y="0"/>
                  </a:lnTo>
                  <a:close/>
                </a:path>
              </a:pathLst>
            </a:custGeom>
            <a:solidFill>
              <a:srgbClr val="A8D08C">
                <a:alpha val="7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00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35DAECE2-2F3B-1D7D-622F-CBCA08BC51A0}"/>
                </a:ext>
              </a:extLst>
            </p:cNvPr>
            <p:cNvGrpSpPr/>
            <p:nvPr/>
          </p:nvGrpSpPr>
          <p:grpSpPr>
            <a:xfrm>
              <a:off x="3781381" y="1198245"/>
              <a:ext cx="4581806" cy="3500935"/>
              <a:chOff x="3781381" y="1198245"/>
              <a:chExt cx="4581806" cy="3500935"/>
            </a:xfrm>
          </p:grpSpPr>
          <p:sp>
            <p:nvSpPr>
              <p:cNvPr id="5" name="Google Shape;693;p8">
                <a:extLst>
                  <a:ext uri="{FF2B5EF4-FFF2-40B4-BE49-F238E27FC236}">
                    <a16:creationId xmlns:a16="http://schemas.microsoft.com/office/drawing/2014/main" id="{14C18D09-A524-F2E5-91C0-BC914A606DCD}"/>
                  </a:ext>
                </a:extLst>
              </p:cNvPr>
              <p:cNvSpPr/>
              <p:nvPr/>
            </p:nvSpPr>
            <p:spPr>
              <a:xfrm>
                <a:off x="3781382" y="1198245"/>
                <a:ext cx="2164531" cy="242623"/>
              </a:xfrm>
              <a:prstGeom prst="ellipse">
                <a:avLst/>
              </a:prstGeom>
              <a:solidFill>
                <a:srgbClr val="317742">
                  <a:alpha val="24705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>
                  <a:solidFill>
                    <a:srgbClr val="000000"/>
                  </a:solidFill>
                  <a:latin typeface="Times New Roman"/>
                  <a:ea typeface="Times New Roman"/>
                  <a:cs typeface="Times New Roman"/>
                  <a:sym typeface="Times New Roman"/>
                </a:endParaRPr>
              </a:p>
            </p:txBody>
          </p:sp>
          <p:grpSp>
            <p:nvGrpSpPr>
              <p:cNvPr id="9" name="Google Shape;695;p8">
                <a:extLst>
                  <a:ext uri="{FF2B5EF4-FFF2-40B4-BE49-F238E27FC236}">
                    <a16:creationId xmlns:a16="http://schemas.microsoft.com/office/drawing/2014/main" id="{0F386AE2-4F77-1F17-8E39-6C2D7B9280E4}"/>
                  </a:ext>
                </a:extLst>
              </p:cNvPr>
              <p:cNvGrpSpPr/>
              <p:nvPr/>
            </p:nvGrpSpPr>
            <p:grpSpPr>
              <a:xfrm>
                <a:off x="3781381" y="1207101"/>
                <a:ext cx="4581806" cy="3492079"/>
                <a:chOff x="4130562" y="380453"/>
                <a:chExt cx="9692774" cy="4970054"/>
              </a:xfrm>
            </p:grpSpPr>
            <p:sp>
              <p:nvSpPr>
                <p:cNvPr id="10" name="Google Shape;696;p8">
                  <a:extLst>
                    <a:ext uri="{FF2B5EF4-FFF2-40B4-BE49-F238E27FC236}">
                      <a16:creationId xmlns:a16="http://schemas.microsoft.com/office/drawing/2014/main" id="{AC53F48D-D1D6-1CE2-8271-D45C1FC385A8}"/>
                    </a:ext>
                  </a:extLst>
                </p:cNvPr>
                <p:cNvSpPr/>
                <p:nvPr/>
              </p:nvSpPr>
              <p:spPr>
                <a:xfrm>
                  <a:off x="4722402" y="1938100"/>
                  <a:ext cx="3486308" cy="9885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26" h="661" extrusionOk="0">
                      <a:moveTo>
                        <a:pt x="0" y="0"/>
                      </a:moveTo>
                      <a:cubicBezTo>
                        <a:pt x="487" y="150"/>
                        <a:pt x="3164" y="122"/>
                        <a:pt x="3726" y="0"/>
                      </a:cubicBezTo>
                      <a:lnTo>
                        <a:pt x="3289" y="558"/>
                      </a:lnTo>
                      <a:cubicBezTo>
                        <a:pt x="2741" y="653"/>
                        <a:pt x="987" y="661"/>
                        <a:pt x="439" y="568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000">
                    <a:alpha val="51764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endParaRPr>
                </a:p>
              </p:txBody>
            </p:sp>
            <p:sp>
              <p:nvSpPr>
                <p:cNvPr id="11" name="Google Shape;697;p8">
                  <a:extLst>
                    <a:ext uri="{FF2B5EF4-FFF2-40B4-BE49-F238E27FC236}">
                      <a16:creationId xmlns:a16="http://schemas.microsoft.com/office/drawing/2014/main" id="{826BB2C7-A32B-39D6-1927-F21E99088703}"/>
                    </a:ext>
                  </a:extLst>
                </p:cNvPr>
                <p:cNvSpPr/>
                <p:nvPr/>
              </p:nvSpPr>
              <p:spPr>
                <a:xfrm>
                  <a:off x="4722402" y="1829366"/>
                  <a:ext cx="3484437" cy="282579"/>
                </a:xfrm>
                <a:prstGeom prst="ellipse">
                  <a:avLst/>
                </a:prstGeom>
                <a:solidFill>
                  <a:srgbClr val="FFC000">
                    <a:alpha val="17647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endParaRPr>
                </a:p>
              </p:txBody>
            </p:sp>
            <p:sp>
              <p:nvSpPr>
                <p:cNvPr id="12" name="Google Shape;698;p8">
                  <a:extLst>
                    <a:ext uri="{FF2B5EF4-FFF2-40B4-BE49-F238E27FC236}">
                      <a16:creationId xmlns:a16="http://schemas.microsoft.com/office/drawing/2014/main" id="{EAF18EDC-1F22-85BB-C2A4-50799C713160}"/>
                    </a:ext>
                  </a:extLst>
                </p:cNvPr>
                <p:cNvSpPr/>
                <p:nvPr/>
              </p:nvSpPr>
              <p:spPr>
                <a:xfrm>
                  <a:off x="4130562" y="514341"/>
                  <a:ext cx="4619296" cy="1219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26" h="661" extrusionOk="0">
                      <a:moveTo>
                        <a:pt x="0" y="0"/>
                      </a:moveTo>
                      <a:cubicBezTo>
                        <a:pt x="487" y="150"/>
                        <a:pt x="3164" y="122"/>
                        <a:pt x="3726" y="0"/>
                      </a:cubicBezTo>
                      <a:lnTo>
                        <a:pt x="3289" y="558"/>
                      </a:lnTo>
                      <a:cubicBezTo>
                        <a:pt x="2741" y="653"/>
                        <a:pt x="987" y="661"/>
                        <a:pt x="439" y="568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8D08C">
                    <a:alpha val="74901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endParaRPr>
                </a:p>
              </p:txBody>
            </p:sp>
            <p:sp>
              <p:nvSpPr>
                <p:cNvPr id="13" name="Google Shape;699;p8">
                  <a:extLst>
                    <a:ext uri="{FF2B5EF4-FFF2-40B4-BE49-F238E27FC236}">
                      <a16:creationId xmlns:a16="http://schemas.microsoft.com/office/drawing/2014/main" id="{8A259F1E-61D3-BF01-F574-6E438356C67A}"/>
                    </a:ext>
                  </a:extLst>
                </p:cNvPr>
                <p:cNvSpPr/>
                <p:nvPr/>
              </p:nvSpPr>
              <p:spPr>
                <a:xfrm>
                  <a:off x="5139498" y="3152394"/>
                  <a:ext cx="2647134" cy="9885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26" h="661" extrusionOk="0">
                      <a:moveTo>
                        <a:pt x="0" y="0"/>
                      </a:moveTo>
                      <a:cubicBezTo>
                        <a:pt x="487" y="150"/>
                        <a:pt x="3164" y="122"/>
                        <a:pt x="3726" y="0"/>
                      </a:cubicBezTo>
                      <a:lnTo>
                        <a:pt x="3289" y="558"/>
                      </a:lnTo>
                      <a:cubicBezTo>
                        <a:pt x="2741" y="653"/>
                        <a:pt x="987" y="661"/>
                        <a:pt x="439" y="568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55A11">
                    <a:alpha val="64705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endParaRPr>
                </a:p>
              </p:txBody>
            </p:sp>
            <p:sp>
              <p:nvSpPr>
                <p:cNvPr id="14" name="Google Shape;700;p8">
                  <a:extLst>
                    <a:ext uri="{FF2B5EF4-FFF2-40B4-BE49-F238E27FC236}">
                      <a16:creationId xmlns:a16="http://schemas.microsoft.com/office/drawing/2014/main" id="{3855FA08-A8F5-4FEF-A441-F826E577BF11}"/>
                    </a:ext>
                  </a:extLst>
                </p:cNvPr>
                <p:cNvSpPr/>
                <p:nvPr/>
              </p:nvSpPr>
              <p:spPr>
                <a:xfrm>
                  <a:off x="5139498" y="3043660"/>
                  <a:ext cx="2645713" cy="282579"/>
                </a:xfrm>
                <a:prstGeom prst="ellipse">
                  <a:avLst/>
                </a:prstGeom>
                <a:solidFill>
                  <a:srgbClr val="C55A11">
                    <a:alpha val="17647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endParaRPr>
                </a:p>
              </p:txBody>
            </p:sp>
            <p:sp>
              <p:nvSpPr>
                <p:cNvPr id="15" name="Google Shape;701;p8">
                  <a:extLst>
                    <a:ext uri="{FF2B5EF4-FFF2-40B4-BE49-F238E27FC236}">
                      <a16:creationId xmlns:a16="http://schemas.microsoft.com/office/drawing/2014/main" id="{C5BEBD11-BFDC-4F3B-647D-52548D0CEC4A}"/>
                    </a:ext>
                  </a:extLst>
                </p:cNvPr>
                <p:cNvSpPr/>
                <p:nvPr/>
              </p:nvSpPr>
              <p:spPr>
                <a:xfrm>
                  <a:off x="5358145" y="4361961"/>
                  <a:ext cx="2136937" cy="9885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26" h="661" extrusionOk="0">
                      <a:moveTo>
                        <a:pt x="0" y="0"/>
                      </a:moveTo>
                      <a:cubicBezTo>
                        <a:pt x="487" y="150"/>
                        <a:pt x="3164" y="122"/>
                        <a:pt x="3726" y="0"/>
                      </a:cubicBezTo>
                      <a:lnTo>
                        <a:pt x="3289" y="558"/>
                      </a:lnTo>
                      <a:cubicBezTo>
                        <a:pt x="2741" y="653"/>
                        <a:pt x="987" y="661"/>
                        <a:pt x="439" y="568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endParaRPr>
                </a:p>
              </p:txBody>
            </p:sp>
            <p:sp>
              <p:nvSpPr>
                <p:cNvPr id="20" name="Google Shape;708;p8">
                  <a:extLst>
                    <a:ext uri="{FF2B5EF4-FFF2-40B4-BE49-F238E27FC236}">
                      <a16:creationId xmlns:a16="http://schemas.microsoft.com/office/drawing/2014/main" id="{A5FA9143-41E6-BB67-F191-EEE18771A207}"/>
                    </a:ext>
                  </a:extLst>
                </p:cNvPr>
                <p:cNvSpPr/>
                <p:nvPr/>
              </p:nvSpPr>
              <p:spPr>
                <a:xfrm>
                  <a:off x="7065661" y="2945895"/>
                  <a:ext cx="6757675" cy="1179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38700" h="1280993" extrusionOk="0">
                      <a:moveTo>
                        <a:pt x="419725" y="0"/>
                      </a:moveTo>
                      <a:lnTo>
                        <a:pt x="5338700" y="0"/>
                      </a:lnTo>
                      <a:lnTo>
                        <a:pt x="5338700" y="1251012"/>
                      </a:lnTo>
                      <a:lnTo>
                        <a:pt x="0" y="1280993"/>
                      </a:lnTo>
                      <a:lnTo>
                        <a:pt x="419725" y="0"/>
                      </a:lnTo>
                      <a:close/>
                    </a:path>
                  </a:pathLst>
                </a:custGeom>
                <a:solidFill>
                  <a:srgbClr val="C55A11">
                    <a:alpha val="34901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endParaRPr>
                </a:p>
              </p:txBody>
            </p:sp>
            <p:sp>
              <p:nvSpPr>
                <p:cNvPr id="21" name="Google Shape;709;p8">
                  <a:extLst>
                    <a:ext uri="{FF2B5EF4-FFF2-40B4-BE49-F238E27FC236}">
                      <a16:creationId xmlns:a16="http://schemas.microsoft.com/office/drawing/2014/main" id="{409F0554-1CDE-C858-2D65-11EAF5093C2D}"/>
                    </a:ext>
                  </a:extLst>
                </p:cNvPr>
                <p:cNvSpPr/>
                <p:nvPr/>
              </p:nvSpPr>
              <p:spPr>
                <a:xfrm>
                  <a:off x="7273027" y="1734246"/>
                  <a:ext cx="6550309" cy="11287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38700" h="1280993" extrusionOk="0">
                      <a:moveTo>
                        <a:pt x="419725" y="0"/>
                      </a:moveTo>
                      <a:lnTo>
                        <a:pt x="5338700" y="0"/>
                      </a:lnTo>
                      <a:lnTo>
                        <a:pt x="5338700" y="1251012"/>
                      </a:lnTo>
                      <a:lnTo>
                        <a:pt x="0" y="1280993"/>
                      </a:lnTo>
                      <a:lnTo>
                        <a:pt x="419725" y="0"/>
                      </a:lnTo>
                      <a:close/>
                    </a:path>
                  </a:pathLst>
                </a:custGeom>
                <a:solidFill>
                  <a:srgbClr val="FFC000">
                    <a:alpha val="27843"/>
                  </a:srgb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000">
                    <a:solidFill>
                      <a:srgbClr val="000000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endParaRPr>
                </a:p>
              </p:txBody>
            </p:sp>
            <p:sp>
              <p:nvSpPr>
                <p:cNvPr id="23" name="Google Shape;710;p8">
                  <a:extLst>
                    <a:ext uri="{FF2B5EF4-FFF2-40B4-BE49-F238E27FC236}">
                      <a16:creationId xmlns:a16="http://schemas.microsoft.com/office/drawing/2014/main" id="{A7270876-B569-9757-200A-5FA0E3E3C5F1}"/>
                    </a:ext>
                  </a:extLst>
                </p:cNvPr>
                <p:cNvSpPr txBox="1"/>
                <p:nvPr/>
              </p:nvSpPr>
              <p:spPr>
                <a:xfrm>
                  <a:off x="8827675" y="380453"/>
                  <a:ext cx="3634399" cy="31161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sp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r>
                    <a:rPr lang="en-GB" b="1" u="sng">
                      <a:solidFill>
                        <a:schemeClr val="tx1"/>
                      </a:solidFill>
                      <a:latin typeface="+mj-lt"/>
                    </a:rPr>
                    <a:t>Value added service</a:t>
                  </a:r>
                </a:p>
              </p:txBody>
            </p:sp>
            <p:sp>
              <p:nvSpPr>
                <p:cNvPr id="24" name="Google Shape;711;p8">
                  <a:extLst>
                    <a:ext uri="{FF2B5EF4-FFF2-40B4-BE49-F238E27FC236}">
                      <a16:creationId xmlns:a16="http://schemas.microsoft.com/office/drawing/2014/main" id="{DAF1B486-B9CF-CF0C-A90C-CBDC3015876C}"/>
                    </a:ext>
                  </a:extLst>
                </p:cNvPr>
                <p:cNvSpPr txBox="1"/>
                <p:nvPr/>
              </p:nvSpPr>
              <p:spPr>
                <a:xfrm>
                  <a:off x="8224083" y="1744281"/>
                  <a:ext cx="2133530" cy="31161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91425" tIns="45700" rIns="91425" bIns="45700" anchor="t" anchorCtr="0">
                  <a:sp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algn="ctr"/>
                  <a:r>
                    <a:rPr lang="en-GB" b="1" u="sng">
                      <a:solidFill>
                        <a:schemeClr val="tx1"/>
                      </a:solidFill>
                      <a:latin typeface="+mj-lt"/>
                    </a:rPr>
                    <a:t>Data insights</a:t>
                  </a:r>
                </a:p>
              </p:txBody>
            </p:sp>
          </p:grp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E476898F-95FF-E716-614F-78AD130F20FE}"/>
              </a:ext>
            </a:extLst>
          </p:cNvPr>
          <p:cNvSpPr txBox="1"/>
          <p:nvPr/>
        </p:nvSpPr>
        <p:spPr>
          <a:xfrm>
            <a:off x="5627139" y="4165282"/>
            <a:ext cx="241493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 u="sng">
                <a:latin typeface="+mj-lt"/>
              </a:rPr>
              <a:t>Increased Revenu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EB84D-AE59-78DE-CB48-30F50B5C1E29}"/>
              </a:ext>
            </a:extLst>
          </p:cNvPr>
          <p:cNvSpPr txBox="1"/>
          <p:nvPr/>
        </p:nvSpPr>
        <p:spPr>
          <a:xfrm>
            <a:off x="6273301" y="1919760"/>
            <a:ext cx="31326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>
                <a:latin typeface="+mj-lt"/>
              </a:rPr>
              <a:t>Break clutter in the market by providing </a:t>
            </a:r>
            <a:r>
              <a:rPr lang="en-GB" sz="12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FORECASTING AND INVENTORY OPTIMISING SOLUTION</a:t>
            </a:r>
            <a:r>
              <a:rPr lang="en-GB" sz="120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en-GB" sz="1200">
                <a:latin typeface="+mj-lt"/>
              </a:rPr>
              <a:t>as an additional benefit as compared to competitor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45875D3-0C96-9AFF-F851-9791E32BF9EE}"/>
              </a:ext>
            </a:extLst>
          </p:cNvPr>
          <p:cNvSpPr txBox="1"/>
          <p:nvPr/>
        </p:nvSpPr>
        <p:spPr>
          <a:xfrm>
            <a:off x="5915610" y="3246501"/>
            <a:ext cx="35435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>
                <a:latin typeface="+mj-lt"/>
              </a:rPr>
              <a:t>By analysing trends and patterns in customer demand, TBH can get insights to the capacity, capability of the customer and provide personalised solutions to customer cohorts</a:t>
            </a:r>
            <a:endParaRPr lang="en-GB" sz="1200" b="1" i="1">
              <a:solidFill>
                <a:schemeClr val="bg2">
                  <a:lumMod val="25000"/>
                </a:schemeClr>
              </a:solidFill>
              <a:latin typeface="+mj-lt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7EE6452-9011-5420-E92A-FE8151406245}"/>
              </a:ext>
            </a:extLst>
          </p:cNvPr>
          <p:cNvSpPr txBox="1"/>
          <p:nvPr/>
        </p:nvSpPr>
        <p:spPr>
          <a:xfrm>
            <a:off x="5614907" y="4468089"/>
            <a:ext cx="37910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PERSONALISED </a:t>
            </a:r>
            <a:r>
              <a:rPr lang="en-GB" sz="1200">
                <a:latin typeface="+mj-lt"/>
              </a:rPr>
              <a:t>marketing communication to the </a:t>
            </a:r>
            <a:r>
              <a:rPr lang="en-GB" sz="12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RIGHT CUSTOMER </a:t>
            </a:r>
            <a:r>
              <a:rPr lang="en-GB" sz="1200">
                <a:latin typeface="+mj-lt"/>
              </a:rPr>
              <a:t>at the </a:t>
            </a:r>
            <a:r>
              <a:rPr lang="en-GB" sz="12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RIGHT TIME </a:t>
            </a:r>
            <a:r>
              <a:rPr lang="en-GB" sz="1200">
                <a:latin typeface="+mj-lt"/>
              </a:rPr>
              <a:t>or even develop </a:t>
            </a:r>
            <a:r>
              <a:rPr lang="en-GB" sz="12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AUTO-ORDERING SYSTEM </a:t>
            </a:r>
            <a:r>
              <a:rPr lang="en-GB" sz="1200">
                <a:latin typeface="+mj-lt"/>
              </a:rPr>
              <a:t>based on re-order point</a:t>
            </a:r>
          </a:p>
        </p:txBody>
      </p:sp>
      <p:sp>
        <p:nvSpPr>
          <p:cNvPr id="43" name="Google Shape;710;p8">
            <a:extLst>
              <a:ext uri="{FF2B5EF4-FFF2-40B4-BE49-F238E27FC236}">
                <a16:creationId xmlns:a16="http://schemas.microsoft.com/office/drawing/2014/main" id="{03496D93-E956-EEDB-D711-197A410A0F2B}"/>
              </a:ext>
            </a:extLst>
          </p:cNvPr>
          <p:cNvSpPr txBox="1"/>
          <p:nvPr/>
        </p:nvSpPr>
        <p:spPr>
          <a:xfrm>
            <a:off x="4037173" y="3562392"/>
            <a:ext cx="1446044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GB" b="1">
                <a:solidFill>
                  <a:schemeClr val="tx1"/>
                </a:solidFill>
                <a:latin typeface="+mj-lt"/>
              </a:rPr>
              <a:t>Retention</a:t>
            </a:r>
          </a:p>
        </p:txBody>
      </p:sp>
      <p:sp>
        <p:nvSpPr>
          <p:cNvPr id="44" name="Google Shape;710;p8">
            <a:extLst>
              <a:ext uri="{FF2B5EF4-FFF2-40B4-BE49-F238E27FC236}">
                <a16:creationId xmlns:a16="http://schemas.microsoft.com/office/drawing/2014/main" id="{51CA726B-099E-369D-8E8E-612714E33C42}"/>
              </a:ext>
            </a:extLst>
          </p:cNvPr>
          <p:cNvSpPr txBox="1"/>
          <p:nvPr/>
        </p:nvSpPr>
        <p:spPr>
          <a:xfrm>
            <a:off x="4037173" y="2270807"/>
            <a:ext cx="1446044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GB" b="1">
                <a:solidFill>
                  <a:schemeClr val="tx1"/>
                </a:solidFill>
                <a:latin typeface="+mj-lt"/>
              </a:rPr>
              <a:t>Acquisition</a:t>
            </a:r>
          </a:p>
        </p:txBody>
      </p:sp>
      <p:sp>
        <p:nvSpPr>
          <p:cNvPr id="45" name="Google Shape;710;p8">
            <a:extLst>
              <a:ext uri="{FF2B5EF4-FFF2-40B4-BE49-F238E27FC236}">
                <a16:creationId xmlns:a16="http://schemas.microsoft.com/office/drawing/2014/main" id="{03C18036-9B09-96D0-0D47-BBDB2D858441}"/>
              </a:ext>
            </a:extLst>
          </p:cNvPr>
          <p:cNvSpPr txBox="1"/>
          <p:nvPr/>
        </p:nvSpPr>
        <p:spPr>
          <a:xfrm>
            <a:off x="4037173" y="4724236"/>
            <a:ext cx="1446044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GB" b="1">
                <a:solidFill>
                  <a:schemeClr val="tx1"/>
                </a:solidFill>
                <a:latin typeface="+mj-lt"/>
              </a:rPr>
              <a:t>Monetisation</a:t>
            </a: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D77693E5-2389-D3B1-34D7-9F372C9ACA97}"/>
              </a:ext>
            </a:extLst>
          </p:cNvPr>
          <p:cNvCxnSpPr/>
          <p:nvPr/>
        </p:nvCxnSpPr>
        <p:spPr>
          <a:xfrm>
            <a:off x="2919046" y="1810598"/>
            <a:ext cx="0" cy="365151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8767AF3C-4B6E-587C-5093-72273927943A}"/>
              </a:ext>
            </a:extLst>
          </p:cNvPr>
          <p:cNvSpPr txBox="1"/>
          <p:nvPr/>
        </p:nvSpPr>
        <p:spPr>
          <a:xfrm rot="16200000">
            <a:off x="634970" y="3477486"/>
            <a:ext cx="41167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>
                <a:latin typeface="+mj-lt"/>
              </a:rPr>
              <a:t>BENEFITS ACROSS THE FUNNEL</a:t>
            </a:r>
          </a:p>
        </p:txBody>
      </p:sp>
      <p:sp>
        <p:nvSpPr>
          <p:cNvPr id="49" name="Arrow: Pentagon 48">
            <a:extLst>
              <a:ext uri="{FF2B5EF4-FFF2-40B4-BE49-F238E27FC236}">
                <a16:creationId xmlns:a16="http://schemas.microsoft.com/office/drawing/2014/main" id="{15458A09-4248-C318-4307-50192842519A}"/>
              </a:ext>
            </a:extLst>
          </p:cNvPr>
          <p:cNvSpPr/>
          <p:nvPr/>
        </p:nvSpPr>
        <p:spPr>
          <a:xfrm>
            <a:off x="0" y="6565900"/>
            <a:ext cx="2400300" cy="2921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PAIN POINTS/GAPS</a:t>
            </a:r>
          </a:p>
        </p:txBody>
      </p:sp>
    </p:spTree>
    <p:extLst>
      <p:ext uri="{BB962C8B-B14F-4D97-AF65-F5344CB8AC3E}">
        <p14:creationId xmlns:p14="http://schemas.microsoft.com/office/powerpoint/2010/main" val="19253099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288E8-824F-7E4A-8430-5E4C384326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192374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8D0DE0-522F-29B0-8202-964439F707B1}"/>
              </a:ext>
            </a:extLst>
          </p:cNvPr>
          <p:cNvSpPr txBox="1">
            <a:spLocks/>
          </p:cNvSpPr>
          <p:nvPr/>
        </p:nvSpPr>
        <p:spPr>
          <a:xfrm>
            <a:off x="510271" y="459609"/>
            <a:ext cx="10933350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EXECUTIVE </a:t>
            </a:r>
            <a:r>
              <a:rPr lang="en-IN">
                <a:solidFill>
                  <a:schemeClr val="accent1">
                    <a:lumMod val="75000"/>
                  </a:schemeClr>
                </a:solidFill>
              </a:rPr>
              <a:t>SUMMARY</a:t>
            </a:r>
          </a:p>
        </p:txBody>
      </p:sp>
      <p:grpSp>
        <p:nvGrpSpPr>
          <p:cNvPr id="2238" name="Google Shape;216;p8">
            <a:extLst>
              <a:ext uri="{FF2B5EF4-FFF2-40B4-BE49-F238E27FC236}">
                <a16:creationId xmlns:a16="http://schemas.microsoft.com/office/drawing/2014/main" id="{0F0FC8A0-C50F-DA92-C310-0A36E1212E3F}"/>
              </a:ext>
            </a:extLst>
          </p:cNvPr>
          <p:cNvGrpSpPr/>
          <p:nvPr/>
        </p:nvGrpSpPr>
        <p:grpSpPr>
          <a:xfrm rot="-5400000">
            <a:off x="307198" y="1770790"/>
            <a:ext cx="1506858" cy="304800"/>
            <a:chOff x="288" y="2496"/>
            <a:chExt cx="1296" cy="144"/>
          </a:xfrm>
        </p:grpSpPr>
        <p:cxnSp>
          <p:nvCxnSpPr>
            <p:cNvPr id="2239" name="Google Shape;217;p8">
              <a:extLst>
                <a:ext uri="{FF2B5EF4-FFF2-40B4-BE49-F238E27FC236}">
                  <a16:creationId xmlns:a16="http://schemas.microsoft.com/office/drawing/2014/main" id="{6CD2EEED-D71C-0798-DB79-4989AB51201A}"/>
                </a:ext>
              </a:extLst>
            </p:cNvPr>
            <p:cNvCxnSpPr/>
            <p:nvPr/>
          </p:nvCxnSpPr>
          <p:spPr>
            <a:xfrm rot="10800000">
              <a:off x="288" y="2568"/>
              <a:ext cx="1296" cy="0"/>
            </a:xfrm>
            <a:prstGeom prst="straightConnector1">
              <a:avLst/>
            </a:prstGeom>
            <a:noFill/>
            <a:ln w="9525" cap="flat" cmpd="sng">
              <a:solidFill>
                <a:srgbClr val="263582"/>
              </a:solidFill>
              <a:prstDash val="solid"/>
              <a:round/>
              <a:headEnd type="triangle" w="med" len="med"/>
              <a:tailEnd type="triangle" w="med" len="med"/>
            </a:ln>
          </p:spPr>
        </p:cxnSp>
        <p:cxnSp>
          <p:nvCxnSpPr>
            <p:cNvPr id="2240" name="Google Shape;218;p8">
              <a:extLst>
                <a:ext uri="{FF2B5EF4-FFF2-40B4-BE49-F238E27FC236}">
                  <a16:creationId xmlns:a16="http://schemas.microsoft.com/office/drawing/2014/main" id="{CB47CD31-E183-BDBF-C1D4-E6274A461084}"/>
                </a:ext>
              </a:extLst>
            </p:cNvPr>
            <p:cNvCxnSpPr/>
            <p:nvPr/>
          </p:nvCxnSpPr>
          <p:spPr>
            <a:xfrm>
              <a:off x="1584" y="2496"/>
              <a:ext cx="0" cy="144"/>
            </a:xfrm>
            <a:prstGeom prst="straightConnector1">
              <a:avLst/>
            </a:prstGeom>
            <a:noFill/>
            <a:ln w="12700" cap="flat" cmpd="sng">
              <a:solidFill>
                <a:srgbClr val="B54C6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241" name="Google Shape;219;p8">
              <a:extLst>
                <a:ext uri="{FF2B5EF4-FFF2-40B4-BE49-F238E27FC236}">
                  <a16:creationId xmlns:a16="http://schemas.microsoft.com/office/drawing/2014/main" id="{5590ECCB-2ED4-FDB2-F55E-9D85E94DEE51}"/>
                </a:ext>
              </a:extLst>
            </p:cNvPr>
            <p:cNvCxnSpPr/>
            <p:nvPr/>
          </p:nvCxnSpPr>
          <p:spPr>
            <a:xfrm>
              <a:off x="288" y="2496"/>
              <a:ext cx="0" cy="144"/>
            </a:xfrm>
            <a:prstGeom prst="straightConnector1">
              <a:avLst/>
            </a:prstGeom>
            <a:noFill/>
            <a:ln w="12700" cap="flat" cmpd="sng">
              <a:solidFill>
                <a:srgbClr val="B54C64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2243" name="Google Shape;221;p8">
            <a:extLst>
              <a:ext uri="{FF2B5EF4-FFF2-40B4-BE49-F238E27FC236}">
                <a16:creationId xmlns:a16="http://schemas.microsoft.com/office/drawing/2014/main" id="{74982A59-766A-73D0-AC7C-520214DDFE60}"/>
              </a:ext>
            </a:extLst>
          </p:cNvPr>
          <p:cNvGrpSpPr/>
          <p:nvPr/>
        </p:nvGrpSpPr>
        <p:grpSpPr>
          <a:xfrm rot="-5400000">
            <a:off x="75889" y="3513018"/>
            <a:ext cx="1969477" cy="304800"/>
            <a:chOff x="288" y="2496"/>
            <a:chExt cx="1296" cy="144"/>
          </a:xfrm>
        </p:grpSpPr>
        <p:cxnSp>
          <p:nvCxnSpPr>
            <p:cNvPr id="2244" name="Google Shape;222;p8">
              <a:extLst>
                <a:ext uri="{FF2B5EF4-FFF2-40B4-BE49-F238E27FC236}">
                  <a16:creationId xmlns:a16="http://schemas.microsoft.com/office/drawing/2014/main" id="{3266BC1F-32F6-213B-2F19-6904F3EC45D2}"/>
                </a:ext>
              </a:extLst>
            </p:cNvPr>
            <p:cNvCxnSpPr/>
            <p:nvPr/>
          </p:nvCxnSpPr>
          <p:spPr>
            <a:xfrm rot="10800000">
              <a:off x="288" y="2568"/>
              <a:ext cx="1296" cy="0"/>
            </a:xfrm>
            <a:prstGeom prst="straightConnector1">
              <a:avLst/>
            </a:prstGeom>
            <a:noFill/>
            <a:ln w="9525" cap="flat" cmpd="sng">
              <a:solidFill>
                <a:srgbClr val="263582"/>
              </a:solidFill>
              <a:prstDash val="solid"/>
              <a:round/>
              <a:headEnd type="triangle" w="med" len="med"/>
              <a:tailEnd type="triangle" w="med" len="med"/>
            </a:ln>
          </p:spPr>
        </p:cxnSp>
        <p:cxnSp>
          <p:nvCxnSpPr>
            <p:cNvPr id="2245" name="Google Shape;223;p8">
              <a:extLst>
                <a:ext uri="{FF2B5EF4-FFF2-40B4-BE49-F238E27FC236}">
                  <a16:creationId xmlns:a16="http://schemas.microsoft.com/office/drawing/2014/main" id="{56163C34-4610-5DB7-8066-D72859F629AD}"/>
                </a:ext>
              </a:extLst>
            </p:cNvPr>
            <p:cNvCxnSpPr/>
            <p:nvPr/>
          </p:nvCxnSpPr>
          <p:spPr>
            <a:xfrm>
              <a:off x="1584" y="2496"/>
              <a:ext cx="0" cy="144"/>
            </a:xfrm>
            <a:prstGeom prst="straightConnector1">
              <a:avLst/>
            </a:prstGeom>
            <a:noFill/>
            <a:ln w="12700" cap="flat" cmpd="sng">
              <a:solidFill>
                <a:srgbClr val="B54C6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246" name="Google Shape;224;p8">
              <a:extLst>
                <a:ext uri="{FF2B5EF4-FFF2-40B4-BE49-F238E27FC236}">
                  <a16:creationId xmlns:a16="http://schemas.microsoft.com/office/drawing/2014/main" id="{02008750-F89D-471B-DDA6-7298BB53BD73}"/>
                </a:ext>
              </a:extLst>
            </p:cNvPr>
            <p:cNvCxnSpPr/>
            <p:nvPr/>
          </p:nvCxnSpPr>
          <p:spPr>
            <a:xfrm>
              <a:off x="288" y="2496"/>
              <a:ext cx="0" cy="144"/>
            </a:xfrm>
            <a:prstGeom prst="straightConnector1">
              <a:avLst/>
            </a:prstGeom>
            <a:noFill/>
            <a:ln w="12700" cap="flat" cmpd="sng">
              <a:solidFill>
                <a:srgbClr val="B54C64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sp>
        <p:nvSpPr>
          <p:cNvPr id="2247" name="Google Shape;225;p8">
            <a:extLst>
              <a:ext uri="{FF2B5EF4-FFF2-40B4-BE49-F238E27FC236}">
                <a16:creationId xmlns:a16="http://schemas.microsoft.com/office/drawing/2014/main" id="{98C80F58-DF00-7BD4-25DA-9545ECA01E08}"/>
              </a:ext>
            </a:extLst>
          </p:cNvPr>
          <p:cNvSpPr/>
          <p:nvPr/>
        </p:nvSpPr>
        <p:spPr>
          <a:xfrm rot="-5400000">
            <a:off x="98516" y="3337785"/>
            <a:ext cx="1346689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rgbClr val="C00000"/>
                </a:solidFill>
                <a:latin typeface="+mj-lt"/>
                <a:ea typeface="Calibri"/>
                <a:cs typeface="Calibri"/>
                <a:sym typeface="Calibri"/>
              </a:rPr>
              <a:t> Our Methodology</a:t>
            </a:r>
            <a:endParaRPr sz="1400">
              <a:latin typeface="+mj-lt"/>
            </a:endParaRPr>
          </a:p>
        </p:txBody>
      </p:sp>
      <p:sp>
        <p:nvSpPr>
          <p:cNvPr id="2257" name="Google Shape;243;p8">
            <a:extLst>
              <a:ext uri="{FF2B5EF4-FFF2-40B4-BE49-F238E27FC236}">
                <a16:creationId xmlns:a16="http://schemas.microsoft.com/office/drawing/2014/main" id="{5C555793-85A7-D19F-5302-D8CC68A42E2E}"/>
              </a:ext>
            </a:extLst>
          </p:cNvPr>
          <p:cNvSpPr/>
          <p:nvPr/>
        </p:nvSpPr>
        <p:spPr>
          <a:xfrm rot="-5400000">
            <a:off x="250396" y="1616979"/>
            <a:ext cx="1097279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rgbClr val="C00000"/>
                </a:solidFill>
                <a:latin typeface="+mj-lt"/>
                <a:cs typeface="Calibri"/>
                <a:sym typeface="Calibri"/>
              </a:rPr>
              <a:t>Customer Needs</a:t>
            </a:r>
            <a:endParaRPr sz="1400">
              <a:latin typeface="+mj-lt"/>
            </a:endParaRPr>
          </a:p>
        </p:txBody>
      </p:sp>
      <p:cxnSp>
        <p:nvCxnSpPr>
          <p:cNvPr id="2258" name="Google Shape;287;p8">
            <a:extLst>
              <a:ext uri="{FF2B5EF4-FFF2-40B4-BE49-F238E27FC236}">
                <a16:creationId xmlns:a16="http://schemas.microsoft.com/office/drawing/2014/main" id="{72065299-B107-490A-D2DA-7E54F6D39AD4}"/>
              </a:ext>
            </a:extLst>
          </p:cNvPr>
          <p:cNvCxnSpPr>
            <a:cxnSpLocks/>
          </p:cNvCxnSpPr>
          <p:nvPr/>
        </p:nvCxnSpPr>
        <p:spPr>
          <a:xfrm>
            <a:off x="1361425" y="2676619"/>
            <a:ext cx="9645240" cy="0"/>
          </a:xfrm>
          <a:prstGeom prst="straightConnector1">
            <a:avLst/>
          </a:prstGeom>
          <a:noFill/>
          <a:ln w="9525" cap="rnd" cmpd="sng">
            <a:solidFill>
              <a:srgbClr val="747678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2260" name="Google Shape;216;p8">
            <a:extLst>
              <a:ext uri="{FF2B5EF4-FFF2-40B4-BE49-F238E27FC236}">
                <a16:creationId xmlns:a16="http://schemas.microsoft.com/office/drawing/2014/main" id="{CEB51C2A-0D8E-A013-A210-55EF3516B44E}"/>
              </a:ext>
            </a:extLst>
          </p:cNvPr>
          <p:cNvGrpSpPr/>
          <p:nvPr/>
        </p:nvGrpSpPr>
        <p:grpSpPr>
          <a:xfrm rot="-5400000">
            <a:off x="387282" y="5175205"/>
            <a:ext cx="1346689" cy="304800"/>
            <a:chOff x="288" y="2496"/>
            <a:chExt cx="1296" cy="144"/>
          </a:xfrm>
        </p:grpSpPr>
        <p:cxnSp>
          <p:nvCxnSpPr>
            <p:cNvPr id="2261" name="Google Shape;217;p8">
              <a:extLst>
                <a:ext uri="{FF2B5EF4-FFF2-40B4-BE49-F238E27FC236}">
                  <a16:creationId xmlns:a16="http://schemas.microsoft.com/office/drawing/2014/main" id="{F49F6683-F998-882A-1CF6-3AB269B8D641}"/>
                </a:ext>
              </a:extLst>
            </p:cNvPr>
            <p:cNvCxnSpPr/>
            <p:nvPr/>
          </p:nvCxnSpPr>
          <p:spPr>
            <a:xfrm rot="10800000">
              <a:off x="288" y="2568"/>
              <a:ext cx="1296" cy="0"/>
            </a:xfrm>
            <a:prstGeom prst="straightConnector1">
              <a:avLst/>
            </a:prstGeom>
            <a:noFill/>
            <a:ln w="9525" cap="flat" cmpd="sng">
              <a:solidFill>
                <a:srgbClr val="263582"/>
              </a:solidFill>
              <a:prstDash val="solid"/>
              <a:round/>
              <a:headEnd type="triangle" w="med" len="med"/>
              <a:tailEnd type="triangle" w="med" len="med"/>
            </a:ln>
          </p:spPr>
        </p:cxnSp>
        <p:cxnSp>
          <p:nvCxnSpPr>
            <p:cNvPr id="2262" name="Google Shape;218;p8">
              <a:extLst>
                <a:ext uri="{FF2B5EF4-FFF2-40B4-BE49-F238E27FC236}">
                  <a16:creationId xmlns:a16="http://schemas.microsoft.com/office/drawing/2014/main" id="{1A72A262-1E18-3781-8B7F-3A92CB275638}"/>
                </a:ext>
              </a:extLst>
            </p:cNvPr>
            <p:cNvCxnSpPr/>
            <p:nvPr/>
          </p:nvCxnSpPr>
          <p:spPr>
            <a:xfrm>
              <a:off x="1584" y="2496"/>
              <a:ext cx="0" cy="144"/>
            </a:xfrm>
            <a:prstGeom prst="straightConnector1">
              <a:avLst/>
            </a:prstGeom>
            <a:noFill/>
            <a:ln w="12700" cap="flat" cmpd="sng">
              <a:solidFill>
                <a:srgbClr val="B54C64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263" name="Google Shape;219;p8">
              <a:extLst>
                <a:ext uri="{FF2B5EF4-FFF2-40B4-BE49-F238E27FC236}">
                  <a16:creationId xmlns:a16="http://schemas.microsoft.com/office/drawing/2014/main" id="{0499AB05-1C5C-0087-CB4A-84C5FF3B147E}"/>
                </a:ext>
              </a:extLst>
            </p:cNvPr>
            <p:cNvCxnSpPr/>
            <p:nvPr/>
          </p:nvCxnSpPr>
          <p:spPr>
            <a:xfrm>
              <a:off x="288" y="2496"/>
              <a:ext cx="0" cy="144"/>
            </a:xfrm>
            <a:prstGeom prst="straightConnector1">
              <a:avLst/>
            </a:prstGeom>
            <a:noFill/>
            <a:ln w="12700" cap="flat" cmpd="sng">
              <a:solidFill>
                <a:srgbClr val="B54C64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sp>
        <p:nvSpPr>
          <p:cNvPr id="2264" name="Google Shape;243;p8">
            <a:extLst>
              <a:ext uri="{FF2B5EF4-FFF2-40B4-BE49-F238E27FC236}">
                <a16:creationId xmlns:a16="http://schemas.microsoft.com/office/drawing/2014/main" id="{C91948AC-29A4-7FF2-3A35-CD8BE1E3B870}"/>
              </a:ext>
            </a:extLst>
          </p:cNvPr>
          <p:cNvSpPr/>
          <p:nvPr/>
        </p:nvSpPr>
        <p:spPr>
          <a:xfrm rot="-5400000">
            <a:off x="300726" y="5166312"/>
            <a:ext cx="1097279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rgbClr val="C00000"/>
                </a:solidFill>
                <a:latin typeface="+mj-lt"/>
                <a:cs typeface="Calibri"/>
                <a:sym typeface="Calibri"/>
              </a:rPr>
              <a:t>Outcome</a:t>
            </a:r>
            <a:endParaRPr sz="1400">
              <a:latin typeface="+mj-lt"/>
            </a:endParaRPr>
          </a:p>
        </p:txBody>
      </p:sp>
      <p:cxnSp>
        <p:nvCxnSpPr>
          <p:cNvPr id="2265" name="Google Shape;287;p8">
            <a:extLst>
              <a:ext uri="{FF2B5EF4-FFF2-40B4-BE49-F238E27FC236}">
                <a16:creationId xmlns:a16="http://schemas.microsoft.com/office/drawing/2014/main" id="{182E24A3-C808-10CB-BECC-645677C3DEF4}"/>
              </a:ext>
            </a:extLst>
          </p:cNvPr>
          <p:cNvCxnSpPr>
            <a:cxnSpLocks/>
          </p:cNvCxnSpPr>
          <p:nvPr/>
        </p:nvCxnSpPr>
        <p:spPr>
          <a:xfrm>
            <a:off x="1384003" y="4669107"/>
            <a:ext cx="9645240" cy="0"/>
          </a:xfrm>
          <a:prstGeom prst="straightConnector1">
            <a:avLst/>
          </a:prstGeom>
          <a:noFill/>
          <a:ln w="9525" cap="rnd" cmpd="sng">
            <a:solidFill>
              <a:srgbClr val="747678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69" name="Google Shape;238;p8">
            <a:extLst>
              <a:ext uri="{FF2B5EF4-FFF2-40B4-BE49-F238E27FC236}">
                <a16:creationId xmlns:a16="http://schemas.microsoft.com/office/drawing/2014/main" id="{30D502F3-71F6-F988-B5BB-632436F413AE}"/>
              </a:ext>
            </a:extLst>
          </p:cNvPr>
          <p:cNvSpPr/>
          <p:nvPr/>
        </p:nvSpPr>
        <p:spPr>
          <a:xfrm>
            <a:off x="8630139" y="4939523"/>
            <a:ext cx="2038444" cy="1028803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rgbClr val="8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i="1">
                <a:solidFill>
                  <a:srgbClr val="003366"/>
                </a:solidFill>
                <a:latin typeface="+mj-lt"/>
                <a:ea typeface="Calibri"/>
                <a:cs typeface="Calibri"/>
                <a:sym typeface="Calibri"/>
              </a:rPr>
              <a:t>Formulate recommendations to mitigate risks</a:t>
            </a:r>
            <a:endParaRPr sz="1400" i="1">
              <a:solidFill>
                <a:srgbClr val="003366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2270" name="Google Shape;226;p8">
            <a:extLst>
              <a:ext uri="{FF2B5EF4-FFF2-40B4-BE49-F238E27FC236}">
                <a16:creationId xmlns:a16="http://schemas.microsoft.com/office/drawing/2014/main" id="{350EFC01-5E8B-DFB0-06A2-385E54E2C537}"/>
              </a:ext>
            </a:extLst>
          </p:cNvPr>
          <p:cNvSpPr/>
          <p:nvPr/>
        </p:nvSpPr>
        <p:spPr>
          <a:xfrm>
            <a:off x="1384002" y="2796023"/>
            <a:ext cx="9622657" cy="1688123"/>
          </a:xfrm>
          <a:prstGeom prst="rect">
            <a:avLst/>
          </a:prstGeom>
          <a:solidFill>
            <a:srgbClr val="D8D8D8"/>
          </a:solidFill>
          <a:ln w="1905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9825" tIns="49825" rIns="49825" bIns="49825" anchor="ctr" anchorCtr="0">
            <a:noAutofit/>
          </a:bodyPr>
          <a:lstStyle/>
          <a:p>
            <a:pPr marL="105510" marR="0" lvl="0" indent="-17562" algn="l" rtl="0">
              <a:spcBef>
                <a:spcPts val="0"/>
              </a:spcBef>
              <a:spcAft>
                <a:spcPts val="0"/>
              </a:spcAft>
              <a:buClr>
                <a:srgbClr val="415299"/>
              </a:buClr>
              <a:buSzPts val="1385"/>
              <a:buFont typeface="Arial"/>
              <a:buNone/>
            </a:pPr>
            <a:endParaRPr sz="1108" b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294" name="Group 2293">
            <a:extLst>
              <a:ext uri="{FF2B5EF4-FFF2-40B4-BE49-F238E27FC236}">
                <a16:creationId xmlns:a16="http://schemas.microsoft.com/office/drawing/2014/main" id="{F8F684C0-DA21-1F82-8EFA-048B20D19926}"/>
              </a:ext>
            </a:extLst>
          </p:cNvPr>
          <p:cNvGrpSpPr/>
          <p:nvPr/>
        </p:nvGrpSpPr>
        <p:grpSpPr>
          <a:xfrm>
            <a:off x="1438253" y="2843197"/>
            <a:ext cx="1714675" cy="1398562"/>
            <a:chOff x="1438254" y="2606131"/>
            <a:chExt cx="1714675" cy="1398562"/>
          </a:xfrm>
        </p:grpSpPr>
        <p:sp>
          <p:nvSpPr>
            <p:cNvPr id="2271" name="Google Shape;232;p8">
              <a:extLst>
                <a:ext uri="{FF2B5EF4-FFF2-40B4-BE49-F238E27FC236}">
                  <a16:creationId xmlns:a16="http://schemas.microsoft.com/office/drawing/2014/main" id="{A08FA5B9-C6FF-E441-50EE-DAF70B6E5D53}"/>
                </a:ext>
              </a:extLst>
            </p:cNvPr>
            <p:cNvSpPr/>
            <p:nvPr/>
          </p:nvSpPr>
          <p:spPr>
            <a:xfrm>
              <a:off x="1684276" y="2909851"/>
              <a:ext cx="1468653" cy="1094842"/>
            </a:xfrm>
            <a:prstGeom prst="homePlate">
              <a:avLst>
                <a:gd name="adj" fmla="val 30060"/>
              </a:avLst>
            </a:prstGeom>
            <a:solidFill>
              <a:schemeClr val="lt1"/>
            </a:solidFill>
            <a:ln>
              <a:noFill/>
            </a:ln>
            <a:effectLst>
              <a:outerShdw dist="17961" dir="2700000" algn="ctr" rotWithShape="0">
                <a:schemeClr val="dk2"/>
              </a:outerShdw>
            </a:effectLst>
          </p:spPr>
          <p:txBody>
            <a:bodyPr spcFirstLastPara="1" wrap="square" lIns="49825" tIns="49825" rIns="49825" bIns="49825" anchor="ctr" anchorCtr="0">
              <a:noAutofit/>
            </a:bodyPr>
            <a:lstStyle/>
            <a:p>
              <a:pPr marL="53975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>
                  <a:solidFill>
                    <a:srgbClr val="0C2D83"/>
                  </a:solidFill>
                  <a:latin typeface="+mj-lt"/>
                  <a:ea typeface="Calibri"/>
                  <a:cs typeface="Calibri"/>
                  <a:sym typeface="Calibri"/>
                </a:rPr>
                <a:t>XYZ</a:t>
              </a:r>
              <a:endParaRPr lang="en-US" sz="1400">
                <a:latin typeface="+mj-lt"/>
              </a:endParaRPr>
            </a:p>
          </p:txBody>
        </p:sp>
        <p:sp>
          <p:nvSpPr>
            <p:cNvPr id="2272" name="Google Shape;233;p8">
              <a:extLst>
                <a:ext uri="{FF2B5EF4-FFF2-40B4-BE49-F238E27FC236}">
                  <a16:creationId xmlns:a16="http://schemas.microsoft.com/office/drawing/2014/main" id="{380A892E-4632-F2AC-FA29-7BFC282083B3}"/>
                </a:ext>
              </a:extLst>
            </p:cNvPr>
            <p:cNvSpPr/>
            <p:nvPr/>
          </p:nvSpPr>
          <p:spPr>
            <a:xfrm>
              <a:off x="1438254" y="2812195"/>
              <a:ext cx="383511" cy="389456"/>
            </a:xfrm>
            <a:prstGeom prst="flowChartConnector">
              <a:avLst/>
            </a:prstGeom>
            <a:solidFill>
              <a:srgbClr val="C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1">
                  <a:solidFill>
                    <a:srgbClr val="FFFFFF"/>
                  </a:solidFill>
                  <a:latin typeface="+mj-lt"/>
                  <a:ea typeface="Calibri"/>
                  <a:cs typeface="Calibri"/>
                  <a:sym typeface="Calibri"/>
                </a:rPr>
                <a:t>1</a:t>
              </a:r>
              <a:endParaRPr sz="1200">
                <a:latin typeface="+mj-lt"/>
              </a:endParaRPr>
            </a:p>
          </p:txBody>
        </p:sp>
        <p:sp>
          <p:nvSpPr>
            <p:cNvPr id="2273" name="Google Shape;234;p8">
              <a:extLst>
                <a:ext uri="{FF2B5EF4-FFF2-40B4-BE49-F238E27FC236}">
                  <a16:creationId xmlns:a16="http://schemas.microsoft.com/office/drawing/2014/main" id="{7355E667-1495-43BC-1359-FC08351462CA}"/>
                </a:ext>
              </a:extLst>
            </p:cNvPr>
            <p:cNvSpPr/>
            <p:nvPr/>
          </p:nvSpPr>
          <p:spPr>
            <a:xfrm>
              <a:off x="1765004" y="2606131"/>
              <a:ext cx="1371824" cy="238363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12700" cap="rnd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 b="1">
                  <a:solidFill>
                    <a:srgbClr val="002060"/>
                  </a:solidFill>
                  <a:latin typeface="+mj-lt"/>
                  <a:ea typeface="Calibri"/>
                  <a:cs typeface="Calibri"/>
                  <a:sym typeface="Calibri"/>
                </a:rPr>
                <a:t>Understand and diagnose</a:t>
              </a:r>
              <a:endParaRPr sz="800" b="1">
                <a:solidFill>
                  <a:srgbClr val="002060"/>
                </a:solidFill>
                <a:latin typeface="+mj-lt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83" name="Google Shape;258;p8">
            <a:extLst>
              <a:ext uri="{FF2B5EF4-FFF2-40B4-BE49-F238E27FC236}">
                <a16:creationId xmlns:a16="http://schemas.microsoft.com/office/drawing/2014/main" id="{2A99102B-45FF-473C-06F3-138C5BB3B765}"/>
              </a:ext>
            </a:extLst>
          </p:cNvPr>
          <p:cNvSpPr/>
          <p:nvPr/>
        </p:nvSpPr>
        <p:spPr>
          <a:xfrm>
            <a:off x="3136827" y="1629439"/>
            <a:ext cx="1658254" cy="652391"/>
          </a:xfrm>
          <a:prstGeom prst="rect">
            <a:avLst/>
          </a:prstGeom>
          <a:solidFill>
            <a:srgbClr val="00206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lt2"/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rgbClr val="FFFFFF"/>
                </a:solidFill>
                <a:latin typeface="+mj-lt"/>
                <a:ea typeface="Calibri"/>
                <a:cs typeface="Calibri"/>
                <a:sym typeface="Calibri"/>
              </a:rPr>
              <a:t>XYZ</a:t>
            </a:r>
            <a:endParaRPr sz="1400">
              <a:solidFill>
                <a:srgbClr val="FFFFFF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2291" name="Google Shape;238;p8">
            <a:extLst>
              <a:ext uri="{FF2B5EF4-FFF2-40B4-BE49-F238E27FC236}">
                <a16:creationId xmlns:a16="http://schemas.microsoft.com/office/drawing/2014/main" id="{354CF258-4A56-E20E-C2B4-A23D74961A0E}"/>
              </a:ext>
            </a:extLst>
          </p:cNvPr>
          <p:cNvSpPr/>
          <p:nvPr/>
        </p:nvSpPr>
        <p:spPr>
          <a:xfrm>
            <a:off x="1765003" y="4939522"/>
            <a:ext cx="2038444" cy="1028803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rgbClr val="8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i="1">
                <a:solidFill>
                  <a:srgbClr val="003366"/>
                </a:solidFill>
                <a:latin typeface="+mj-lt"/>
                <a:ea typeface="Calibri"/>
                <a:cs typeface="Calibri"/>
                <a:sym typeface="Calibri"/>
              </a:rPr>
              <a:t>Formulate recommendations to mitigate risks</a:t>
            </a:r>
            <a:endParaRPr sz="1400" i="1">
              <a:solidFill>
                <a:srgbClr val="003366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2292" name="Google Shape;238;p8">
            <a:extLst>
              <a:ext uri="{FF2B5EF4-FFF2-40B4-BE49-F238E27FC236}">
                <a16:creationId xmlns:a16="http://schemas.microsoft.com/office/drawing/2014/main" id="{848F4A6A-6318-FF36-DD04-F44F839B6EF2}"/>
              </a:ext>
            </a:extLst>
          </p:cNvPr>
          <p:cNvSpPr/>
          <p:nvPr/>
        </p:nvSpPr>
        <p:spPr>
          <a:xfrm>
            <a:off x="4053382" y="4939521"/>
            <a:ext cx="2038444" cy="1028803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rgbClr val="8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i="1">
                <a:solidFill>
                  <a:srgbClr val="003366"/>
                </a:solidFill>
                <a:latin typeface="+mj-lt"/>
                <a:ea typeface="Calibri"/>
                <a:cs typeface="Calibri"/>
                <a:sym typeface="Calibri"/>
              </a:rPr>
              <a:t>Formulate recommendations to mitigate risks</a:t>
            </a:r>
            <a:endParaRPr sz="1400" i="1">
              <a:solidFill>
                <a:srgbClr val="003366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2293" name="Google Shape;238;p8">
            <a:extLst>
              <a:ext uri="{FF2B5EF4-FFF2-40B4-BE49-F238E27FC236}">
                <a16:creationId xmlns:a16="http://schemas.microsoft.com/office/drawing/2014/main" id="{9EB064B8-E48C-9DD4-13AA-FACA5ECAFCD1}"/>
              </a:ext>
            </a:extLst>
          </p:cNvPr>
          <p:cNvSpPr/>
          <p:nvPr/>
        </p:nvSpPr>
        <p:spPr>
          <a:xfrm>
            <a:off x="6341761" y="4939520"/>
            <a:ext cx="2038444" cy="1028803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rgbClr val="8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i="1">
                <a:solidFill>
                  <a:srgbClr val="003366"/>
                </a:solidFill>
                <a:latin typeface="+mj-lt"/>
                <a:ea typeface="Calibri"/>
                <a:cs typeface="Calibri"/>
                <a:sym typeface="Calibri"/>
              </a:rPr>
              <a:t>Formulate recommendations to mitigate risks</a:t>
            </a:r>
            <a:endParaRPr sz="1400" i="1">
              <a:solidFill>
                <a:srgbClr val="003366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grpSp>
        <p:nvGrpSpPr>
          <p:cNvPr id="2295" name="Group 2294">
            <a:extLst>
              <a:ext uri="{FF2B5EF4-FFF2-40B4-BE49-F238E27FC236}">
                <a16:creationId xmlns:a16="http://schemas.microsoft.com/office/drawing/2014/main" id="{BC8C19D9-5B4E-B905-598F-230F693CB1A7}"/>
              </a:ext>
            </a:extLst>
          </p:cNvPr>
          <p:cNvGrpSpPr/>
          <p:nvPr/>
        </p:nvGrpSpPr>
        <p:grpSpPr>
          <a:xfrm>
            <a:off x="8793048" y="2874158"/>
            <a:ext cx="1714675" cy="1398562"/>
            <a:chOff x="1438254" y="2606131"/>
            <a:chExt cx="1714675" cy="1398562"/>
          </a:xfrm>
        </p:grpSpPr>
        <p:sp>
          <p:nvSpPr>
            <p:cNvPr id="2296" name="Google Shape;232;p8">
              <a:extLst>
                <a:ext uri="{FF2B5EF4-FFF2-40B4-BE49-F238E27FC236}">
                  <a16:creationId xmlns:a16="http://schemas.microsoft.com/office/drawing/2014/main" id="{6C30D068-FD07-E0FC-6D1F-BA9959C5DA1D}"/>
                </a:ext>
              </a:extLst>
            </p:cNvPr>
            <p:cNvSpPr/>
            <p:nvPr/>
          </p:nvSpPr>
          <p:spPr>
            <a:xfrm>
              <a:off x="1684276" y="2909851"/>
              <a:ext cx="1468653" cy="1094842"/>
            </a:xfrm>
            <a:prstGeom prst="homePlate">
              <a:avLst>
                <a:gd name="adj" fmla="val 30060"/>
              </a:avLst>
            </a:prstGeom>
            <a:solidFill>
              <a:schemeClr val="lt1"/>
            </a:solidFill>
            <a:ln>
              <a:noFill/>
            </a:ln>
            <a:effectLst>
              <a:outerShdw dist="17961" dir="2700000" algn="ctr" rotWithShape="0">
                <a:schemeClr val="dk2"/>
              </a:outerShdw>
            </a:effectLst>
          </p:spPr>
          <p:txBody>
            <a:bodyPr spcFirstLastPara="1" wrap="square" lIns="49825" tIns="49825" rIns="49825" bIns="49825" anchor="ctr" anchorCtr="0">
              <a:noAutofit/>
            </a:bodyPr>
            <a:lstStyle/>
            <a:p>
              <a:pPr marL="53975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>
                  <a:solidFill>
                    <a:srgbClr val="0C2D83"/>
                  </a:solidFill>
                  <a:latin typeface="+mj-lt"/>
                  <a:ea typeface="Calibri"/>
                  <a:cs typeface="Calibri"/>
                  <a:sym typeface="Calibri"/>
                </a:rPr>
                <a:t>XYZ</a:t>
              </a:r>
              <a:endParaRPr lang="en-US" sz="1400">
                <a:latin typeface="+mj-lt"/>
              </a:endParaRPr>
            </a:p>
          </p:txBody>
        </p:sp>
        <p:sp>
          <p:nvSpPr>
            <p:cNvPr id="2297" name="Google Shape;233;p8">
              <a:extLst>
                <a:ext uri="{FF2B5EF4-FFF2-40B4-BE49-F238E27FC236}">
                  <a16:creationId xmlns:a16="http://schemas.microsoft.com/office/drawing/2014/main" id="{071C628B-9927-983F-2045-F3BD33ADA40B}"/>
                </a:ext>
              </a:extLst>
            </p:cNvPr>
            <p:cNvSpPr/>
            <p:nvPr/>
          </p:nvSpPr>
          <p:spPr>
            <a:xfrm>
              <a:off x="1438254" y="2812195"/>
              <a:ext cx="383511" cy="389456"/>
            </a:xfrm>
            <a:prstGeom prst="flowChartConnector">
              <a:avLst/>
            </a:prstGeom>
            <a:solidFill>
              <a:srgbClr val="C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1">
                  <a:solidFill>
                    <a:srgbClr val="FFFFFF"/>
                  </a:solidFill>
                  <a:latin typeface="+mj-lt"/>
                  <a:ea typeface="Calibri"/>
                  <a:cs typeface="Calibri"/>
                  <a:sym typeface="Calibri"/>
                </a:rPr>
                <a:t>1</a:t>
              </a:r>
              <a:endParaRPr sz="1200">
                <a:latin typeface="+mj-lt"/>
              </a:endParaRPr>
            </a:p>
          </p:txBody>
        </p:sp>
        <p:sp>
          <p:nvSpPr>
            <p:cNvPr id="2298" name="Google Shape;234;p8">
              <a:extLst>
                <a:ext uri="{FF2B5EF4-FFF2-40B4-BE49-F238E27FC236}">
                  <a16:creationId xmlns:a16="http://schemas.microsoft.com/office/drawing/2014/main" id="{8350E3FC-2E6C-C55D-EB84-18BAE6EEB31F}"/>
                </a:ext>
              </a:extLst>
            </p:cNvPr>
            <p:cNvSpPr/>
            <p:nvPr/>
          </p:nvSpPr>
          <p:spPr>
            <a:xfrm>
              <a:off x="1765004" y="2606131"/>
              <a:ext cx="1371824" cy="238363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12700" cap="rnd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 b="1">
                  <a:solidFill>
                    <a:srgbClr val="002060"/>
                  </a:solidFill>
                  <a:latin typeface="+mj-lt"/>
                  <a:ea typeface="Calibri"/>
                  <a:cs typeface="Calibri"/>
                  <a:sym typeface="Calibri"/>
                </a:rPr>
                <a:t>Understand and diagnose</a:t>
              </a:r>
              <a:endParaRPr sz="800" b="1">
                <a:solidFill>
                  <a:srgbClr val="002060"/>
                </a:solidFill>
                <a:latin typeface="+mj-lt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299" name="Group 2298">
            <a:extLst>
              <a:ext uri="{FF2B5EF4-FFF2-40B4-BE49-F238E27FC236}">
                <a16:creationId xmlns:a16="http://schemas.microsoft.com/office/drawing/2014/main" id="{79BB8CE8-6F46-10DC-E2DD-62183AA38498}"/>
              </a:ext>
            </a:extLst>
          </p:cNvPr>
          <p:cNvGrpSpPr/>
          <p:nvPr/>
        </p:nvGrpSpPr>
        <p:grpSpPr>
          <a:xfrm>
            <a:off x="6341449" y="2878634"/>
            <a:ext cx="1714675" cy="1398562"/>
            <a:chOff x="1438254" y="2606131"/>
            <a:chExt cx="1714675" cy="1398562"/>
          </a:xfrm>
        </p:grpSpPr>
        <p:sp>
          <p:nvSpPr>
            <p:cNvPr id="2300" name="Google Shape;232;p8">
              <a:extLst>
                <a:ext uri="{FF2B5EF4-FFF2-40B4-BE49-F238E27FC236}">
                  <a16:creationId xmlns:a16="http://schemas.microsoft.com/office/drawing/2014/main" id="{B2B0E8AD-0206-880F-A957-C0C6D9075B3E}"/>
                </a:ext>
              </a:extLst>
            </p:cNvPr>
            <p:cNvSpPr/>
            <p:nvPr/>
          </p:nvSpPr>
          <p:spPr>
            <a:xfrm>
              <a:off x="1684276" y="2909851"/>
              <a:ext cx="1468653" cy="1094842"/>
            </a:xfrm>
            <a:prstGeom prst="homePlate">
              <a:avLst>
                <a:gd name="adj" fmla="val 30060"/>
              </a:avLst>
            </a:prstGeom>
            <a:solidFill>
              <a:schemeClr val="lt1"/>
            </a:solidFill>
            <a:ln>
              <a:noFill/>
            </a:ln>
            <a:effectLst>
              <a:outerShdw dist="17961" dir="2700000" algn="ctr" rotWithShape="0">
                <a:schemeClr val="dk2"/>
              </a:outerShdw>
            </a:effectLst>
          </p:spPr>
          <p:txBody>
            <a:bodyPr spcFirstLastPara="1" wrap="square" lIns="49825" tIns="49825" rIns="49825" bIns="49825" anchor="ctr" anchorCtr="0">
              <a:noAutofit/>
            </a:bodyPr>
            <a:lstStyle/>
            <a:p>
              <a:pPr marL="53975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>
                  <a:solidFill>
                    <a:srgbClr val="0C2D83"/>
                  </a:solidFill>
                  <a:latin typeface="+mj-lt"/>
                  <a:ea typeface="Calibri"/>
                  <a:cs typeface="Calibri"/>
                  <a:sym typeface="Calibri"/>
                </a:rPr>
                <a:t>XYZ</a:t>
              </a:r>
              <a:endParaRPr lang="en-US" sz="1400">
                <a:latin typeface="+mj-lt"/>
              </a:endParaRPr>
            </a:p>
          </p:txBody>
        </p:sp>
        <p:sp>
          <p:nvSpPr>
            <p:cNvPr id="2301" name="Google Shape;233;p8">
              <a:extLst>
                <a:ext uri="{FF2B5EF4-FFF2-40B4-BE49-F238E27FC236}">
                  <a16:creationId xmlns:a16="http://schemas.microsoft.com/office/drawing/2014/main" id="{DB49A80F-A3C9-7E8E-C7D5-E76D70BE70B8}"/>
                </a:ext>
              </a:extLst>
            </p:cNvPr>
            <p:cNvSpPr/>
            <p:nvPr/>
          </p:nvSpPr>
          <p:spPr>
            <a:xfrm>
              <a:off x="1438254" y="2812195"/>
              <a:ext cx="383511" cy="389456"/>
            </a:xfrm>
            <a:prstGeom prst="flowChartConnector">
              <a:avLst/>
            </a:prstGeom>
            <a:solidFill>
              <a:srgbClr val="C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1">
                  <a:solidFill>
                    <a:srgbClr val="FFFFFF"/>
                  </a:solidFill>
                  <a:latin typeface="+mj-lt"/>
                  <a:ea typeface="Calibri"/>
                  <a:cs typeface="Calibri"/>
                  <a:sym typeface="Calibri"/>
                </a:rPr>
                <a:t>1</a:t>
              </a:r>
              <a:endParaRPr sz="1200">
                <a:latin typeface="+mj-lt"/>
              </a:endParaRPr>
            </a:p>
          </p:txBody>
        </p:sp>
        <p:sp>
          <p:nvSpPr>
            <p:cNvPr id="2302" name="Google Shape;234;p8">
              <a:extLst>
                <a:ext uri="{FF2B5EF4-FFF2-40B4-BE49-F238E27FC236}">
                  <a16:creationId xmlns:a16="http://schemas.microsoft.com/office/drawing/2014/main" id="{636221FF-608D-3A48-D724-6B9191C76552}"/>
                </a:ext>
              </a:extLst>
            </p:cNvPr>
            <p:cNvSpPr/>
            <p:nvPr/>
          </p:nvSpPr>
          <p:spPr>
            <a:xfrm>
              <a:off x="1765004" y="2606131"/>
              <a:ext cx="1371824" cy="238363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12700" cap="rnd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 b="1">
                  <a:solidFill>
                    <a:srgbClr val="002060"/>
                  </a:solidFill>
                  <a:latin typeface="+mj-lt"/>
                  <a:ea typeface="Calibri"/>
                  <a:cs typeface="Calibri"/>
                  <a:sym typeface="Calibri"/>
                </a:rPr>
                <a:t>Understand and diagnose</a:t>
              </a:r>
              <a:endParaRPr sz="800" b="1">
                <a:solidFill>
                  <a:srgbClr val="002060"/>
                </a:solidFill>
                <a:latin typeface="+mj-lt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303" name="Group 2302">
            <a:extLst>
              <a:ext uri="{FF2B5EF4-FFF2-40B4-BE49-F238E27FC236}">
                <a16:creationId xmlns:a16="http://schemas.microsoft.com/office/drawing/2014/main" id="{2C87AB95-6C9F-2CA8-690B-0C783A5610FD}"/>
              </a:ext>
            </a:extLst>
          </p:cNvPr>
          <p:cNvGrpSpPr/>
          <p:nvPr/>
        </p:nvGrpSpPr>
        <p:grpSpPr>
          <a:xfrm>
            <a:off x="3889851" y="2874158"/>
            <a:ext cx="1714675" cy="1398562"/>
            <a:chOff x="1438254" y="2606131"/>
            <a:chExt cx="1714675" cy="1398562"/>
          </a:xfrm>
        </p:grpSpPr>
        <p:sp>
          <p:nvSpPr>
            <p:cNvPr id="2304" name="Google Shape;232;p8">
              <a:extLst>
                <a:ext uri="{FF2B5EF4-FFF2-40B4-BE49-F238E27FC236}">
                  <a16:creationId xmlns:a16="http://schemas.microsoft.com/office/drawing/2014/main" id="{10E8E646-D4E8-EB5D-C646-286161DB103E}"/>
                </a:ext>
              </a:extLst>
            </p:cNvPr>
            <p:cNvSpPr/>
            <p:nvPr/>
          </p:nvSpPr>
          <p:spPr>
            <a:xfrm>
              <a:off x="1684276" y="2909851"/>
              <a:ext cx="1468653" cy="1094842"/>
            </a:xfrm>
            <a:prstGeom prst="homePlate">
              <a:avLst>
                <a:gd name="adj" fmla="val 30060"/>
              </a:avLst>
            </a:prstGeom>
            <a:solidFill>
              <a:schemeClr val="lt1"/>
            </a:solidFill>
            <a:ln>
              <a:noFill/>
            </a:ln>
            <a:effectLst>
              <a:outerShdw dist="17961" dir="2700000" algn="ctr" rotWithShape="0">
                <a:schemeClr val="dk2"/>
              </a:outerShdw>
            </a:effectLst>
          </p:spPr>
          <p:txBody>
            <a:bodyPr spcFirstLastPara="1" wrap="square" lIns="49825" tIns="49825" rIns="49825" bIns="49825" anchor="ctr" anchorCtr="0">
              <a:noAutofit/>
            </a:bodyPr>
            <a:lstStyle/>
            <a:p>
              <a:pPr marL="53975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>
                  <a:solidFill>
                    <a:srgbClr val="0C2D83"/>
                  </a:solidFill>
                  <a:latin typeface="+mj-lt"/>
                  <a:ea typeface="Calibri"/>
                  <a:cs typeface="Calibri"/>
                  <a:sym typeface="Calibri"/>
                </a:rPr>
                <a:t>XYZ</a:t>
              </a:r>
              <a:endParaRPr lang="en-US" sz="1400">
                <a:latin typeface="+mj-lt"/>
              </a:endParaRPr>
            </a:p>
          </p:txBody>
        </p:sp>
        <p:sp>
          <p:nvSpPr>
            <p:cNvPr id="2305" name="Google Shape;233;p8">
              <a:extLst>
                <a:ext uri="{FF2B5EF4-FFF2-40B4-BE49-F238E27FC236}">
                  <a16:creationId xmlns:a16="http://schemas.microsoft.com/office/drawing/2014/main" id="{B825000A-0927-822B-EE36-48D53481CC71}"/>
                </a:ext>
              </a:extLst>
            </p:cNvPr>
            <p:cNvSpPr/>
            <p:nvPr/>
          </p:nvSpPr>
          <p:spPr>
            <a:xfrm>
              <a:off x="1438254" y="2812195"/>
              <a:ext cx="383511" cy="389456"/>
            </a:xfrm>
            <a:prstGeom prst="flowChartConnector">
              <a:avLst/>
            </a:prstGeom>
            <a:solidFill>
              <a:srgbClr val="C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1">
                  <a:solidFill>
                    <a:srgbClr val="FFFFFF"/>
                  </a:solidFill>
                  <a:latin typeface="+mj-lt"/>
                  <a:ea typeface="Calibri"/>
                  <a:cs typeface="Calibri"/>
                  <a:sym typeface="Calibri"/>
                </a:rPr>
                <a:t>1</a:t>
              </a:r>
              <a:endParaRPr sz="1200">
                <a:latin typeface="+mj-lt"/>
              </a:endParaRPr>
            </a:p>
          </p:txBody>
        </p:sp>
        <p:sp>
          <p:nvSpPr>
            <p:cNvPr id="2306" name="Google Shape;234;p8">
              <a:extLst>
                <a:ext uri="{FF2B5EF4-FFF2-40B4-BE49-F238E27FC236}">
                  <a16:creationId xmlns:a16="http://schemas.microsoft.com/office/drawing/2014/main" id="{E3C47115-6C86-83CF-6315-A64888F49824}"/>
                </a:ext>
              </a:extLst>
            </p:cNvPr>
            <p:cNvSpPr/>
            <p:nvPr/>
          </p:nvSpPr>
          <p:spPr>
            <a:xfrm>
              <a:off x="1765004" y="2606131"/>
              <a:ext cx="1371824" cy="238363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12700" cap="rnd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800" b="1">
                  <a:solidFill>
                    <a:srgbClr val="002060"/>
                  </a:solidFill>
                  <a:latin typeface="+mj-lt"/>
                  <a:ea typeface="Calibri"/>
                  <a:cs typeface="Calibri"/>
                  <a:sym typeface="Calibri"/>
                </a:rPr>
                <a:t>Understand and diagnose</a:t>
              </a:r>
              <a:endParaRPr sz="800" b="1">
                <a:solidFill>
                  <a:srgbClr val="002060"/>
                </a:solidFill>
                <a:latin typeface="+mj-lt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07" name="Google Shape;258;p8">
            <a:extLst>
              <a:ext uri="{FF2B5EF4-FFF2-40B4-BE49-F238E27FC236}">
                <a16:creationId xmlns:a16="http://schemas.microsoft.com/office/drawing/2014/main" id="{07F9D22A-374B-E0F1-7C55-4DDC91AB5BB0}"/>
              </a:ext>
            </a:extLst>
          </p:cNvPr>
          <p:cNvSpPr/>
          <p:nvPr/>
        </p:nvSpPr>
        <p:spPr>
          <a:xfrm>
            <a:off x="5224678" y="1635972"/>
            <a:ext cx="1658254" cy="652391"/>
          </a:xfrm>
          <a:prstGeom prst="rect">
            <a:avLst/>
          </a:prstGeom>
          <a:solidFill>
            <a:srgbClr val="00206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lt2"/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>
                <a:solidFill>
                  <a:srgbClr val="FFFFFF"/>
                </a:solidFill>
                <a:latin typeface="+mj-lt"/>
                <a:ea typeface="Calibri"/>
                <a:cs typeface="Calibri"/>
                <a:sym typeface="Calibri"/>
              </a:rPr>
              <a:t>XYZ</a:t>
            </a:r>
            <a:endParaRPr sz="1400">
              <a:solidFill>
                <a:srgbClr val="FFFFFF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2308" name="Google Shape;258;p8">
            <a:extLst>
              <a:ext uri="{FF2B5EF4-FFF2-40B4-BE49-F238E27FC236}">
                <a16:creationId xmlns:a16="http://schemas.microsoft.com/office/drawing/2014/main" id="{A157A310-1BBE-F425-BD67-72C200A5C8D8}"/>
              </a:ext>
            </a:extLst>
          </p:cNvPr>
          <p:cNvSpPr/>
          <p:nvPr/>
        </p:nvSpPr>
        <p:spPr>
          <a:xfrm>
            <a:off x="7312529" y="1642192"/>
            <a:ext cx="1658254" cy="652391"/>
          </a:xfrm>
          <a:prstGeom prst="rect">
            <a:avLst/>
          </a:prstGeom>
          <a:solidFill>
            <a:srgbClr val="002060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lt2"/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>
                <a:solidFill>
                  <a:srgbClr val="FFFFFF"/>
                </a:solidFill>
                <a:latin typeface="+mj-lt"/>
                <a:ea typeface="Calibri"/>
                <a:cs typeface="Calibri"/>
                <a:sym typeface="Calibri"/>
              </a:rPr>
              <a:t>XYZ</a:t>
            </a:r>
            <a:endParaRPr sz="1400">
              <a:solidFill>
                <a:srgbClr val="FFFFFF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2309" name="Rectangle 2308">
            <a:extLst>
              <a:ext uri="{FF2B5EF4-FFF2-40B4-BE49-F238E27FC236}">
                <a16:creationId xmlns:a16="http://schemas.microsoft.com/office/drawing/2014/main" id="{FE2276A5-AFC6-77FA-B1CB-31775943C46E}"/>
              </a:ext>
            </a:extLst>
          </p:cNvPr>
          <p:cNvSpPr/>
          <p:nvPr/>
        </p:nvSpPr>
        <p:spPr>
          <a:xfrm>
            <a:off x="6019952" y="278291"/>
            <a:ext cx="3047244" cy="337549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</a:rPr>
              <a:t>Write all texts</a:t>
            </a:r>
          </a:p>
        </p:txBody>
      </p:sp>
      <p:sp>
        <p:nvSpPr>
          <p:cNvPr id="2310" name="Rectangle 2309">
            <a:extLst>
              <a:ext uri="{FF2B5EF4-FFF2-40B4-BE49-F238E27FC236}">
                <a16:creationId xmlns:a16="http://schemas.microsoft.com/office/drawing/2014/main" id="{C379F484-3F6A-2864-59AD-324A1695708C}"/>
              </a:ext>
            </a:extLst>
          </p:cNvPr>
          <p:cNvSpPr/>
          <p:nvPr/>
        </p:nvSpPr>
        <p:spPr>
          <a:xfrm>
            <a:off x="10668584" y="0"/>
            <a:ext cx="1523416" cy="27464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Deepak</a:t>
            </a:r>
          </a:p>
        </p:txBody>
      </p:sp>
      <p:sp>
        <p:nvSpPr>
          <p:cNvPr id="2311" name="Google Shape;521;p3">
            <a:extLst>
              <a:ext uri="{FF2B5EF4-FFF2-40B4-BE49-F238E27FC236}">
                <a16:creationId xmlns:a16="http://schemas.microsoft.com/office/drawing/2014/main" id="{CDD2BD4E-3900-9CD9-636A-C2E9F372AA7E}"/>
              </a:ext>
            </a:extLst>
          </p:cNvPr>
          <p:cNvSpPr/>
          <p:nvPr/>
        </p:nvSpPr>
        <p:spPr>
          <a:xfrm>
            <a:off x="537445" y="904670"/>
            <a:ext cx="10679190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>
                <a:solidFill>
                  <a:srgbClr val="000000"/>
                </a:solidFill>
                <a:latin typeface="+mj-lt"/>
                <a:ea typeface="Trebuchet MS"/>
                <a:cs typeface="Trebuchet MS"/>
                <a:sym typeface="Trebuchet MS"/>
              </a:rPr>
              <a:t>“Forecast”</a:t>
            </a:r>
            <a:endParaRPr sz="1600" b="1" i="1">
              <a:solidFill>
                <a:srgbClr val="C00000"/>
              </a:solidFill>
              <a:latin typeface="+mj-lt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7749469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8D0DE0-522F-29B0-8202-964439F707B1}"/>
              </a:ext>
            </a:extLst>
          </p:cNvPr>
          <p:cNvSpPr txBox="1">
            <a:spLocks/>
          </p:cNvSpPr>
          <p:nvPr/>
        </p:nvSpPr>
        <p:spPr>
          <a:xfrm>
            <a:off x="510271" y="459609"/>
            <a:ext cx="10933350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>
                <a:solidFill>
                  <a:schemeClr val="accent1">
                    <a:lumMod val="75000"/>
                  </a:schemeClr>
                </a:solidFill>
              </a:rPr>
              <a:t>BENEFITS </a:t>
            </a:r>
            <a:r>
              <a:rPr lang="en-IN">
                <a:solidFill>
                  <a:schemeClr val="tx1"/>
                </a:solidFill>
              </a:rPr>
              <a:t>TO TBH</a:t>
            </a:r>
          </a:p>
        </p:txBody>
      </p:sp>
      <p:sp>
        <p:nvSpPr>
          <p:cNvPr id="2" name="Circle: Hollow 1">
            <a:extLst>
              <a:ext uri="{FF2B5EF4-FFF2-40B4-BE49-F238E27FC236}">
                <a16:creationId xmlns:a16="http://schemas.microsoft.com/office/drawing/2014/main" id="{1C9B89CA-B47B-D625-9FFC-230FF630237A}"/>
              </a:ext>
            </a:extLst>
          </p:cNvPr>
          <p:cNvSpPr/>
          <p:nvPr/>
        </p:nvSpPr>
        <p:spPr>
          <a:xfrm>
            <a:off x="1968177" y="3551501"/>
            <a:ext cx="1219200" cy="1230489"/>
          </a:xfrm>
          <a:prstGeom prst="donut">
            <a:avLst>
              <a:gd name="adj" fmla="val 14190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4" name="Circle: Hollow 3">
            <a:extLst>
              <a:ext uri="{FF2B5EF4-FFF2-40B4-BE49-F238E27FC236}">
                <a16:creationId xmlns:a16="http://schemas.microsoft.com/office/drawing/2014/main" id="{8D591670-E1FE-8F54-13FB-DE00652BFA70}"/>
              </a:ext>
            </a:extLst>
          </p:cNvPr>
          <p:cNvSpPr/>
          <p:nvPr/>
        </p:nvSpPr>
        <p:spPr>
          <a:xfrm>
            <a:off x="5088811" y="1914612"/>
            <a:ext cx="1219200" cy="1230489"/>
          </a:xfrm>
          <a:prstGeom prst="donut">
            <a:avLst>
              <a:gd name="adj" fmla="val 1419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961107B2-CF2E-C1A1-2096-342221CA9015}"/>
              </a:ext>
            </a:extLst>
          </p:cNvPr>
          <p:cNvSpPr/>
          <p:nvPr/>
        </p:nvSpPr>
        <p:spPr>
          <a:xfrm>
            <a:off x="8395025" y="2936256"/>
            <a:ext cx="1219200" cy="1230489"/>
          </a:xfrm>
          <a:prstGeom prst="donut">
            <a:avLst>
              <a:gd name="adj" fmla="val 1419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97CBF8D-2557-447D-57D0-0B46F663CA58}"/>
              </a:ext>
            </a:extLst>
          </p:cNvPr>
          <p:cNvCxnSpPr>
            <a:cxnSpLocks/>
            <a:stCxn id="2" idx="7"/>
            <a:endCxn id="4" idx="2"/>
          </p:cNvCxnSpPr>
          <p:nvPr/>
        </p:nvCxnSpPr>
        <p:spPr>
          <a:xfrm flipV="1">
            <a:off x="3008829" y="2529857"/>
            <a:ext cx="2079982" cy="1201845"/>
          </a:xfrm>
          <a:prstGeom prst="line">
            <a:avLst/>
          </a:prstGeom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7866B41-4033-18AC-1515-9B533F066E54}"/>
              </a:ext>
            </a:extLst>
          </p:cNvPr>
          <p:cNvCxnSpPr>
            <a:cxnSpLocks/>
            <a:stCxn id="4" idx="6"/>
            <a:endCxn id="8" idx="1"/>
          </p:cNvCxnSpPr>
          <p:nvPr/>
        </p:nvCxnSpPr>
        <p:spPr>
          <a:xfrm>
            <a:off x="6308011" y="2529857"/>
            <a:ext cx="2265562" cy="58660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98C7C1D3-DE36-AB46-BFAD-0A4C7FCD9306}"/>
              </a:ext>
            </a:extLst>
          </p:cNvPr>
          <p:cNvSpPr txBox="1"/>
          <p:nvPr/>
        </p:nvSpPr>
        <p:spPr>
          <a:xfrm>
            <a:off x="2160087" y="3044889"/>
            <a:ext cx="835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rPr>
              <a:t>01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000AFD5-E197-4274-185B-D01CD9B656C9}"/>
              </a:ext>
            </a:extLst>
          </p:cNvPr>
          <p:cNvSpPr txBox="1"/>
          <p:nvPr/>
        </p:nvSpPr>
        <p:spPr>
          <a:xfrm>
            <a:off x="5280723" y="1409078"/>
            <a:ext cx="835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rPr>
              <a:t>0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5C2817E-ABC0-D168-28B8-8C5ED3A77102}"/>
              </a:ext>
            </a:extLst>
          </p:cNvPr>
          <p:cNvSpPr txBox="1"/>
          <p:nvPr/>
        </p:nvSpPr>
        <p:spPr>
          <a:xfrm>
            <a:off x="8586937" y="2413036"/>
            <a:ext cx="835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>
                <a:solidFill>
                  <a:srgbClr val="44BF3B"/>
                </a:solidFill>
                <a:latin typeface="+mj-lt"/>
              </a:rPr>
              <a:t>0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B1E0A46-96F3-83FC-CFCD-D4541F2E7285}"/>
              </a:ext>
            </a:extLst>
          </p:cNvPr>
          <p:cNvSpPr txBox="1"/>
          <p:nvPr/>
        </p:nvSpPr>
        <p:spPr>
          <a:xfrm>
            <a:off x="3275111" y="4096113"/>
            <a:ext cx="17258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rPr>
              <a:t>Data insight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407D6C4-9233-C41F-EC18-A41BBA5A3E4C}"/>
              </a:ext>
            </a:extLst>
          </p:cNvPr>
          <p:cNvSpPr txBox="1"/>
          <p:nvPr/>
        </p:nvSpPr>
        <p:spPr>
          <a:xfrm>
            <a:off x="3298840" y="4414539"/>
            <a:ext cx="167837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>
                <a:latin typeface="+mj-lt"/>
              </a:rPr>
              <a:t>By analysing trends and patterns in customer demand, TBH can get insights to the capacity of the customer</a:t>
            </a:r>
            <a:endParaRPr lang="en-GB" sz="1200" b="1" i="1">
              <a:solidFill>
                <a:schemeClr val="bg2">
                  <a:lumMod val="25000"/>
                </a:schemeClr>
              </a:solidFill>
              <a:latin typeface="+mj-lt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B8DD66D-493F-5BD2-F662-6A49667AC8CE}"/>
              </a:ext>
            </a:extLst>
          </p:cNvPr>
          <p:cNvSpPr txBox="1"/>
          <p:nvPr/>
        </p:nvSpPr>
        <p:spPr>
          <a:xfrm>
            <a:off x="5478770" y="3242240"/>
            <a:ext cx="21464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rPr>
              <a:t>Value added servic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73E7A67-FD51-5989-1B53-3805E810AED9}"/>
              </a:ext>
            </a:extLst>
          </p:cNvPr>
          <p:cNvSpPr txBox="1"/>
          <p:nvPr/>
        </p:nvSpPr>
        <p:spPr>
          <a:xfrm>
            <a:off x="5516253" y="3825083"/>
            <a:ext cx="197768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>
                <a:latin typeface="+mj-lt"/>
              </a:rPr>
              <a:t>Break clutter in the market by providing </a:t>
            </a:r>
            <a:r>
              <a:rPr lang="en-GB" sz="12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FORECASTING AND INVENTORY OPTIMISING SOLUTION</a:t>
            </a:r>
            <a:r>
              <a:rPr lang="en-GB" sz="120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en-GB" sz="1200">
                <a:latin typeface="+mj-lt"/>
              </a:rPr>
              <a:t>as an additional benefit as compared to competitor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2B32A9A-1A21-9479-0D19-7ED977DD8429}"/>
              </a:ext>
            </a:extLst>
          </p:cNvPr>
          <p:cNvSpPr txBox="1"/>
          <p:nvPr/>
        </p:nvSpPr>
        <p:spPr>
          <a:xfrm>
            <a:off x="8780804" y="4192132"/>
            <a:ext cx="24586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rgbClr val="44BF3B"/>
                </a:solidFill>
                <a:latin typeface="+mj-lt"/>
              </a:rPr>
              <a:t>Increased Revenu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06394EE-4986-291D-1E94-6B9CAE127DD4}"/>
              </a:ext>
            </a:extLst>
          </p:cNvPr>
          <p:cNvSpPr txBox="1"/>
          <p:nvPr/>
        </p:nvSpPr>
        <p:spPr>
          <a:xfrm>
            <a:off x="8780804" y="4517580"/>
            <a:ext cx="235709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en-GB" sz="1200">
                <a:latin typeface="+mj-lt"/>
              </a:rPr>
              <a:t>Subscription revenue</a:t>
            </a:r>
          </a:p>
          <a:p>
            <a:pPr marL="228600" indent="-228600">
              <a:buAutoNum type="arabicPeriod"/>
            </a:pPr>
            <a:r>
              <a:rPr lang="en-GB" sz="12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PERSONALISED</a:t>
            </a:r>
          </a:p>
          <a:p>
            <a:r>
              <a:rPr lang="en-GB" sz="1200">
                <a:latin typeface="+mj-lt"/>
              </a:rPr>
              <a:t>marketing communication to the</a:t>
            </a:r>
          </a:p>
          <a:p>
            <a:r>
              <a:rPr lang="en-GB" sz="12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RIGHT CUSTOMER</a:t>
            </a:r>
          </a:p>
          <a:p>
            <a:r>
              <a:rPr lang="en-GB" sz="1200">
                <a:latin typeface="+mj-lt"/>
              </a:rPr>
              <a:t>at the</a:t>
            </a:r>
          </a:p>
          <a:p>
            <a:r>
              <a:rPr lang="en-GB" sz="12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RIGHT TIME</a:t>
            </a:r>
          </a:p>
          <a:p>
            <a:r>
              <a:rPr lang="en-GB" sz="1200">
                <a:latin typeface="+mj-lt"/>
              </a:rPr>
              <a:t>or even develop</a:t>
            </a:r>
          </a:p>
          <a:p>
            <a:r>
              <a:rPr lang="en-GB" sz="12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AUTO-ORDERING SYSTEM </a:t>
            </a:r>
            <a:r>
              <a:rPr lang="en-GB" sz="1200">
                <a:latin typeface="+mj-lt"/>
              </a:rPr>
              <a:t>based on re-order point</a:t>
            </a:r>
          </a:p>
        </p:txBody>
      </p:sp>
      <p:pic>
        <p:nvPicPr>
          <p:cNvPr id="4098" name="Picture 2" descr="Data Insight Icons - Free SVG &amp; PNG Data Insight Images - Noun Project">
            <a:extLst>
              <a:ext uri="{FF2B5EF4-FFF2-40B4-BE49-F238E27FC236}">
                <a16:creationId xmlns:a16="http://schemas.microsoft.com/office/drawing/2014/main" id="{9FCC8B7F-7D06-9122-66FF-A18A0768BD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2364" y="3891318"/>
            <a:ext cx="523221" cy="523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Increase Revenue Icons - Free SVG &amp; PNG Increase Revenue Images - Noun  Project">
            <a:extLst>
              <a:ext uri="{FF2B5EF4-FFF2-40B4-BE49-F238E27FC236}">
                <a16:creationId xmlns:a16="http://schemas.microsoft.com/office/drawing/2014/main" id="{F5683017-B7D8-8078-A15A-ED292871E8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5585" y="3220720"/>
            <a:ext cx="577775" cy="577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3,075 Value Added Services Images, Stock Photos, 3D objects, &amp; Vectors |  Shutterstock">
            <a:extLst>
              <a:ext uri="{FF2B5EF4-FFF2-40B4-BE49-F238E27FC236}">
                <a16:creationId xmlns:a16="http://schemas.microsoft.com/office/drawing/2014/main" id="{9E8E6DEA-9D7C-3EBF-B159-2AB62881A1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92" t="11226" r="24693" b="16431"/>
          <a:stretch/>
        </p:blipFill>
        <p:spPr bwMode="auto">
          <a:xfrm>
            <a:off x="5418301" y="2235982"/>
            <a:ext cx="558645" cy="539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68" name="Arrow: Pentagon 7167">
            <a:extLst>
              <a:ext uri="{FF2B5EF4-FFF2-40B4-BE49-F238E27FC236}">
                <a16:creationId xmlns:a16="http://schemas.microsoft.com/office/drawing/2014/main" id="{2C91FFBB-D8C3-68D3-4FDE-83E641D4A6F6}"/>
              </a:ext>
            </a:extLst>
          </p:cNvPr>
          <p:cNvSpPr/>
          <p:nvPr/>
        </p:nvSpPr>
        <p:spPr>
          <a:xfrm>
            <a:off x="0" y="6565900"/>
            <a:ext cx="2400300" cy="2921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PAIN POINTS</a:t>
            </a:r>
          </a:p>
        </p:txBody>
      </p:sp>
      <p:sp>
        <p:nvSpPr>
          <p:cNvPr id="7171" name="Arrow: Chevron 7170">
            <a:extLst>
              <a:ext uri="{FF2B5EF4-FFF2-40B4-BE49-F238E27FC236}">
                <a16:creationId xmlns:a16="http://schemas.microsoft.com/office/drawing/2014/main" id="{240AF2BA-946F-5FCA-C956-A8943E417E86}"/>
              </a:ext>
            </a:extLst>
          </p:cNvPr>
          <p:cNvSpPr/>
          <p:nvPr/>
        </p:nvSpPr>
        <p:spPr>
          <a:xfrm>
            <a:off x="4251682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PREPARTION</a:t>
            </a:r>
          </a:p>
        </p:txBody>
      </p:sp>
      <p:sp>
        <p:nvSpPr>
          <p:cNvPr id="7172" name="Arrow: Chevron 7171">
            <a:extLst>
              <a:ext uri="{FF2B5EF4-FFF2-40B4-BE49-F238E27FC236}">
                <a16:creationId xmlns:a16="http://schemas.microsoft.com/office/drawing/2014/main" id="{F320A620-CEBF-7A42-AED2-2AAE79CB4AEF}"/>
              </a:ext>
            </a:extLst>
          </p:cNvPr>
          <p:cNvSpPr/>
          <p:nvPr/>
        </p:nvSpPr>
        <p:spPr>
          <a:xfrm>
            <a:off x="6215940" y="6561469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ODEL EVALUATION &amp; PREDICTION</a:t>
            </a:r>
          </a:p>
        </p:txBody>
      </p:sp>
      <p:sp>
        <p:nvSpPr>
          <p:cNvPr id="7173" name="Arrow: Chevron 7172">
            <a:extLst>
              <a:ext uri="{FF2B5EF4-FFF2-40B4-BE49-F238E27FC236}">
                <a16:creationId xmlns:a16="http://schemas.microsoft.com/office/drawing/2014/main" id="{7E077EC0-B8B6-619E-9BCB-A93D23D21A32}"/>
              </a:ext>
            </a:extLst>
          </p:cNvPr>
          <p:cNvSpPr/>
          <p:nvPr/>
        </p:nvSpPr>
        <p:spPr>
          <a:xfrm>
            <a:off x="8180198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INVENTORY REPLENISHMENT</a:t>
            </a:r>
          </a:p>
        </p:txBody>
      </p:sp>
      <p:sp>
        <p:nvSpPr>
          <p:cNvPr id="7174" name="Arrow: Chevron 7173">
            <a:extLst>
              <a:ext uri="{FF2B5EF4-FFF2-40B4-BE49-F238E27FC236}">
                <a16:creationId xmlns:a16="http://schemas.microsoft.com/office/drawing/2014/main" id="{70018D39-7BED-0EF9-72E0-ED694486956F}"/>
              </a:ext>
            </a:extLst>
          </p:cNvPr>
          <p:cNvSpPr/>
          <p:nvPr/>
        </p:nvSpPr>
        <p:spPr>
          <a:xfrm>
            <a:off x="10144455" y="6561104"/>
            <a:ext cx="2047545" cy="296896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BENEFITS TO EBs and TBH</a:t>
            </a:r>
          </a:p>
        </p:txBody>
      </p:sp>
      <p:sp>
        <p:nvSpPr>
          <p:cNvPr id="7175" name="Arrow: Chevron 7174">
            <a:extLst>
              <a:ext uri="{FF2B5EF4-FFF2-40B4-BE49-F238E27FC236}">
                <a16:creationId xmlns:a16="http://schemas.microsoft.com/office/drawing/2014/main" id="{140A8E97-FDBF-D2E2-0AE8-3FA46159A5B2}"/>
              </a:ext>
            </a:extLst>
          </p:cNvPr>
          <p:cNvSpPr/>
          <p:nvPr/>
        </p:nvSpPr>
        <p:spPr>
          <a:xfrm>
            <a:off x="2287424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&amp; METHOD COMPARISON</a:t>
            </a:r>
          </a:p>
        </p:txBody>
      </p:sp>
    </p:spTree>
    <p:extLst>
      <p:ext uri="{BB962C8B-B14F-4D97-AF65-F5344CB8AC3E}">
        <p14:creationId xmlns:p14="http://schemas.microsoft.com/office/powerpoint/2010/main" val="31867272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8D0DE0-522F-29B0-8202-964439F707B1}"/>
              </a:ext>
            </a:extLst>
          </p:cNvPr>
          <p:cNvSpPr txBox="1">
            <a:spLocks/>
          </p:cNvSpPr>
          <p:nvPr/>
        </p:nvSpPr>
        <p:spPr>
          <a:xfrm>
            <a:off x="510271" y="459609"/>
            <a:ext cx="10933350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>
                <a:solidFill>
                  <a:schemeClr val="accent1">
                    <a:lumMod val="75000"/>
                  </a:schemeClr>
                </a:solidFill>
              </a:rPr>
              <a:t>BENEFITS </a:t>
            </a:r>
            <a:r>
              <a:rPr lang="en-IN">
                <a:solidFill>
                  <a:schemeClr val="tx1"/>
                </a:solidFill>
              </a:rPr>
              <a:t>TO TBH</a:t>
            </a:r>
          </a:p>
        </p:txBody>
      </p:sp>
      <p:sp>
        <p:nvSpPr>
          <p:cNvPr id="2" name="Circle: Hollow 1">
            <a:extLst>
              <a:ext uri="{FF2B5EF4-FFF2-40B4-BE49-F238E27FC236}">
                <a16:creationId xmlns:a16="http://schemas.microsoft.com/office/drawing/2014/main" id="{1C9B89CA-B47B-D625-9FFC-230FF630237A}"/>
              </a:ext>
            </a:extLst>
          </p:cNvPr>
          <p:cNvSpPr/>
          <p:nvPr/>
        </p:nvSpPr>
        <p:spPr>
          <a:xfrm>
            <a:off x="1968177" y="3551501"/>
            <a:ext cx="1219200" cy="1230489"/>
          </a:xfrm>
          <a:prstGeom prst="donut">
            <a:avLst>
              <a:gd name="adj" fmla="val 14190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4" name="Circle: Hollow 3">
            <a:extLst>
              <a:ext uri="{FF2B5EF4-FFF2-40B4-BE49-F238E27FC236}">
                <a16:creationId xmlns:a16="http://schemas.microsoft.com/office/drawing/2014/main" id="{8D591670-E1FE-8F54-13FB-DE00652BFA70}"/>
              </a:ext>
            </a:extLst>
          </p:cNvPr>
          <p:cNvSpPr/>
          <p:nvPr/>
        </p:nvSpPr>
        <p:spPr>
          <a:xfrm>
            <a:off x="5088811" y="1914612"/>
            <a:ext cx="1219200" cy="1230489"/>
          </a:xfrm>
          <a:prstGeom prst="donut">
            <a:avLst>
              <a:gd name="adj" fmla="val 1419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961107B2-CF2E-C1A1-2096-342221CA9015}"/>
              </a:ext>
            </a:extLst>
          </p:cNvPr>
          <p:cNvSpPr/>
          <p:nvPr/>
        </p:nvSpPr>
        <p:spPr>
          <a:xfrm>
            <a:off x="8395025" y="2936256"/>
            <a:ext cx="1219200" cy="1230489"/>
          </a:xfrm>
          <a:prstGeom prst="donut">
            <a:avLst>
              <a:gd name="adj" fmla="val 1419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97CBF8D-2557-447D-57D0-0B46F663CA58}"/>
              </a:ext>
            </a:extLst>
          </p:cNvPr>
          <p:cNvCxnSpPr>
            <a:cxnSpLocks/>
            <a:stCxn id="2" idx="7"/>
            <a:endCxn id="4" idx="2"/>
          </p:cNvCxnSpPr>
          <p:nvPr/>
        </p:nvCxnSpPr>
        <p:spPr>
          <a:xfrm flipV="1">
            <a:off x="3008829" y="2529857"/>
            <a:ext cx="2079982" cy="1201845"/>
          </a:xfrm>
          <a:prstGeom prst="line">
            <a:avLst/>
          </a:prstGeom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7866B41-4033-18AC-1515-9B533F066E54}"/>
              </a:ext>
            </a:extLst>
          </p:cNvPr>
          <p:cNvCxnSpPr>
            <a:cxnSpLocks/>
            <a:stCxn id="4" idx="6"/>
            <a:endCxn id="8" idx="1"/>
          </p:cNvCxnSpPr>
          <p:nvPr/>
        </p:nvCxnSpPr>
        <p:spPr>
          <a:xfrm>
            <a:off x="6308011" y="2529857"/>
            <a:ext cx="2265562" cy="58660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98C7C1D3-DE36-AB46-BFAD-0A4C7FCD9306}"/>
              </a:ext>
            </a:extLst>
          </p:cNvPr>
          <p:cNvSpPr txBox="1"/>
          <p:nvPr/>
        </p:nvSpPr>
        <p:spPr>
          <a:xfrm>
            <a:off x="2160087" y="3044889"/>
            <a:ext cx="835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rPr>
              <a:t>01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000AFD5-E197-4274-185B-D01CD9B656C9}"/>
              </a:ext>
            </a:extLst>
          </p:cNvPr>
          <p:cNvSpPr txBox="1"/>
          <p:nvPr/>
        </p:nvSpPr>
        <p:spPr>
          <a:xfrm>
            <a:off x="5280723" y="1409078"/>
            <a:ext cx="835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rPr>
              <a:t>0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5C2817E-ABC0-D168-28B8-8C5ED3A77102}"/>
              </a:ext>
            </a:extLst>
          </p:cNvPr>
          <p:cNvSpPr txBox="1"/>
          <p:nvPr/>
        </p:nvSpPr>
        <p:spPr>
          <a:xfrm>
            <a:off x="8586937" y="2413036"/>
            <a:ext cx="835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>
                <a:solidFill>
                  <a:srgbClr val="44BF3B"/>
                </a:solidFill>
                <a:latin typeface="+mj-lt"/>
              </a:rPr>
              <a:t>0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B1E0A46-96F3-83FC-CFCD-D4541F2E7285}"/>
              </a:ext>
            </a:extLst>
          </p:cNvPr>
          <p:cNvSpPr txBox="1"/>
          <p:nvPr/>
        </p:nvSpPr>
        <p:spPr>
          <a:xfrm>
            <a:off x="3275111" y="4096113"/>
            <a:ext cx="17258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rPr>
              <a:t>Data insight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407D6C4-9233-C41F-EC18-A41BBA5A3E4C}"/>
              </a:ext>
            </a:extLst>
          </p:cNvPr>
          <p:cNvSpPr txBox="1"/>
          <p:nvPr/>
        </p:nvSpPr>
        <p:spPr>
          <a:xfrm>
            <a:off x="3298840" y="4414539"/>
            <a:ext cx="167837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>
                <a:latin typeface="+mj-lt"/>
              </a:rPr>
              <a:t>By analysing trends and patterns in customer demand, TBH can get insights to the capacity of the customer</a:t>
            </a:r>
            <a:endParaRPr lang="en-GB" sz="1200" b="1" i="1">
              <a:solidFill>
                <a:schemeClr val="bg2">
                  <a:lumMod val="25000"/>
                </a:schemeClr>
              </a:solidFill>
              <a:latin typeface="+mj-lt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B8DD66D-493F-5BD2-F662-6A49667AC8CE}"/>
              </a:ext>
            </a:extLst>
          </p:cNvPr>
          <p:cNvSpPr txBox="1"/>
          <p:nvPr/>
        </p:nvSpPr>
        <p:spPr>
          <a:xfrm>
            <a:off x="5478770" y="3242240"/>
            <a:ext cx="21464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rPr>
              <a:t>Value added servic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73E7A67-FD51-5989-1B53-3805E810AED9}"/>
              </a:ext>
            </a:extLst>
          </p:cNvPr>
          <p:cNvSpPr txBox="1"/>
          <p:nvPr/>
        </p:nvSpPr>
        <p:spPr>
          <a:xfrm>
            <a:off x="5516253" y="3825083"/>
            <a:ext cx="197768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>
                <a:latin typeface="+mj-lt"/>
              </a:rPr>
              <a:t>Break clutter in the market by providing </a:t>
            </a:r>
            <a:r>
              <a:rPr lang="en-GB" sz="12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FORECASTING AND INVENTORY OPTIMISING SOLUTION</a:t>
            </a:r>
            <a:r>
              <a:rPr lang="en-GB" sz="120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en-GB" sz="1200">
                <a:latin typeface="+mj-lt"/>
              </a:rPr>
              <a:t>as an additional benefit as compared to competitor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2B32A9A-1A21-9479-0D19-7ED977DD8429}"/>
              </a:ext>
            </a:extLst>
          </p:cNvPr>
          <p:cNvSpPr txBox="1"/>
          <p:nvPr/>
        </p:nvSpPr>
        <p:spPr>
          <a:xfrm>
            <a:off x="8780804" y="4192132"/>
            <a:ext cx="24586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rgbClr val="44BF3B"/>
                </a:solidFill>
                <a:latin typeface="+mj-lt"/>
              </a:rPr>
              <a:t>Increased Revenu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06394EE-4986-291D-1E94-6B9CAE127DD4}"/>
              </a:ext>
            </a:extLst>
          </p:cNvPr>
          <p:cNvSpPr txBox="1"/>
          <p:nvPr/>
        </p:nvSpPr>
        <p:spPr>
          <a:xfrm>
            <a:off x="8780804" y="4517580"/>
            <a:ext cx="235709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en-GB" sz="1200">
                <a:latin typeface="+mj-lt"/>
              </a:rPr>
              <a:t>Subscription revenue</a:t>
            </a:r>
          </a:p>
          <a:p>
            <a:pPr marL="228600" indent="-228600">
              <a:buAutoNum type="arabicPeriod"/>
            </a:pPr>
            <a:r>
              <a:rPr lang="en-GB" sz="12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PERSONALISED</a:t>
            </a:r>
          </a:p>
          <a:p>
            <a:r>
              <a:rPr lang="en-GB" sz="1200">
                <a:latin typeface="+mj-lt"/>
              </a:rPr>
              <a:t>marketing communication to the</a:t>
            </a:r>
          </a:p>
          <a:p>
            <a:r>
              <a:rPr lang="en-GB" sz="12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RIGHT CUSTOMER</a:t>
            </a:r>
          </a:p>
          <a:p>
            <a:r>
              <a:rPr lang="en-GB" sz="1200">
                <a:latin typeface="+mj-lt"/>
              </a:rPr>
              <a:t>at the</a:t>
            </a:r>
          </a:p>
          <a:p>
            <a:r>
              <a:rPr lang="en-GB" sz="12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RIGHT TIME</a:t>
            </a:r>
          </a:p>
          <a:p>
            <a:r>
              <a:rPr lang="en-GB" sz="1200">
                <a:latin typeface="+mj-lt"/>
              </a:rPr>
              <a:t>or even develop</a:t>
            </a:r>
          </a:p>
          <a:p>
            <a:r>
              <a:rPr lang="en-GB" sz="12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AUTO-ORDERING SYSTEM </a:t>
            </a:r>
            <a:r>
              <a:rPr lang="en-GB" sz="1200">
                <a:latin typeface="+mj-lt"/>
              </a:rPr>
              <a:t>based on re-order point</a:t>
            </a:r>
          </a:p>
        </p:txBody>
      </p:sp>
      <p:pic>
        <p:nvPicPr>
          <p:cNvPr id="4098" name="Picture 2" descr="Data Insight Icons - Free SVG &amp; PNG Data Insight Images - Noun Project">
            <a:extLst>
              <a:ext uri="{FF2B5EF4-FFF2-40B4-BE49-F238E27FC236}">
                <a16:creationId xmlns:a16="http://schemas.microsoft.com/office/drawing/2014/main" id="{9FCC8B7F-7D06-9122-66FF-A18A0768BD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2364" y="3891318"/>
            <a:ext cx="523221" cy="523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Increase Revenue Icons - Free SVG &amp; PNG Increase Revenue Images - Noun  Project">
            <a:extLst>
              <a:ext uri="{FF2B5EF4-FFF2-40B4-BE49-F238E27FC236}">
                <a16:creationId xmlns:a16="http://schemas.microsoft.com/office/drawing/2014/main" id="{F5683017-B7D8-8078-A15A-ED292871E8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5585" y="3220720"/>
            <a:ext cx="577775" cy="577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3,075 Value Added Services Images, Stock Photos, 3D objects, &amp; Vectors |  Shutterstock">
            <a:extLst>
              <a:ext uri="{FF2B5EF4-FFF2-40B4-BE49-F238E27FC236}">
                <a16:creationId xmlns:a16="http://schemas.microsoft.com/office/drawing/2014/main" id="{9E8E6DEA-9D7C-3EBF-B159-2AB62881A1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92" t="11226" r="24693" b="16431"/>
          <a:stretch/>
        </p:blipFill>
        <p:spPr bwMode="auto">
          <a:xfrm>
            <a:off x="5418301" y="2235982"/>
            <a:ext cx="558645" cy="539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68" name="Arrow: Pentagon 7167">
            <a:extLst>
              <a:ext uri="{FF2B5EF4-FFF2-40B4-BE49-F238E27FC236}">
                <a16:creationId xmlns:a16="http://schemas.microsoft.com/office/drawing/2014/main" id="{2C91FFBB-D8C3-68D3-4FDE-83E641D4A6F6}"/>
              </a:ext>
            </a:extLst>
          </p:cNvPr>
          <p:cNvSpPr/>
          <p:nvPr/>
        </p:nvSpPr>
        <p:spPr>
          <a:xfrm>
            <a:off x="0" y="6565900"/>
            <a:ext cx="2400300" cy="2921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PAIN POINTS</a:t>
            </a:r>
          </a:p>
        </p:txBody>
      </p:sp>
      <p:sp>
        <p:nvSpPr>
          <p:cNvPr id="7171" name="Arrow: Chevron 7170">
            <a:extLst>
              <a:ext uri="{FF2B5EF4-FFF2-40B4-BE49-F238E27FC236}">
                <a16:creationId xmlns:a16="http://schemas.microsoft.com/office/drawing/2014/main" id="{240AF2BA-946F-5FCA-C956-A8943E417E86}"/>
              </a:ext>
            </a:extLst>
          </p:cNvPr>
          <p:cNvSpPr/>
          <p:nvPr/>
        </p:nvSpPr>
        <p:spPr>
          <a:xfrm>
            <a:off x="4251682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PREPARTION</a:t>
            </a:r>
          </a:p>
        </p:txBody>
      </p:sp>
      <p:sp>
        <p:nvSpPr>
          <p:cNvPr id="7172" name="Arrow: Chevron 7171">
            <a:extLst>
              <a:ext uri="{FF2B5EF4-FFF2-40B4-BE49-F238E27FC236}">
                <a16:creationId xmlns:a16="http://schemas.microsoft.com/office/drawing/2014/main" id="{F320A620-CEBF-7A42-AED2-2AAE79CB4AEF}"/>
              </a:ext>
            </a:extLst>
          </p:cNvPr>
          <p:cNvSpPr/>
          <p:nvPr/>
        </p:nvSpPr>
        <p:spPr>
          <a:xfrm>
            <a:off x="6215940" y="6561469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ODEL EVALUATION &amp; PREDICTION</a:t>
            </a:r>
          </a:p>
        </p:txBody>
      </p:sp>
      <p:sp>
        <p:nvSpPr>
          <p:cNvPr id="7173" name="Arrow: Chevron 7172">
            <a:extLst>
              <a:ext uri="{FF2B5EF4-FFF2-40B4-BE49-F238E27FC236}">
                <a16:creationId xmlns:a16="http://schemas.microsoft.com/office/drawing/2014/main" id="{7E077EC0-B8B6-619E-9BCB-A93D23D21A32}"/>
              </a:ext>
            </a:extLst>
          </p:cNvPr>
          <p:cNvSpPr/>
          <p:nvPr/>
        </p:nvSpPr>
        <p:spPr>
          <a:xfrm>
            <a:off x="8180198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INVENTORY REPLENISHMENT</a:t>
            </a:r>
          </a:p>
        </p:txBody>
      </p:sp>
      <p:sp>
        <p:nvSpPr>
          <p:cNvPr id="7174" name="Arrow: Chevron 7173">
            <a:extLst>
              <a:ext uri="{FF2B5EF4-FFF2-40B4-BE49-F238E27FC236}">
                <a16:creationId xmlns:a16="http://schemas.microsoft.com/office/drawing/2014/main" id="{70018D39-7BED-0EF9-72E0-ED694486956F}"/>
              </a:ext>
            </a:extLst>
          </p:cNvPr>
          <p:cNvSpPr/>
          <p:nvPr/>
        </p:nvSpPr>
        <p:spPr>
          <a:xfrm>
            <a:off x="10144455" y="6561104"/>
            <a:ext cx="2047545" cy="296896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BENEFITS TO EBs and TBH</a:t>
            </a:r>
          </a:p>
        </p:txBody>
      </p:sp>
      <p:sp>
        <p:nvSpPr>
          <p:cNvPr id="7175" name="Arrow: Chevron 7174">
            <a:extLst>
              <a:ext uri="{FF2B5EF4-FFF2-40B4-BE49-F238E27FC236}">
                <a16:creationId xmlns:a16="http://schemas.microsoft.com/office/drawing/2014/main" id="{140A8E97-FDBF-D2E2-0AE8-3FA46159A5B2}"/>
              </a:ext>
            </a:extLst>
          </p:cNvPr>
          <p:cNvSpPr/>
          <p:nvPr/>
        </p:nvSpPr>
        <p:spPr>
          <a:xfrm>
            <a:off x="2287424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&amp; METHOD COMPARISON</a:t>
            </a:r>
          </a:p>
        </p:txBody>
      </p:sp>
    </p:spTree>
    <p:extLst>
      <p:ext uri="{BB962C8B-B14F-4D97-AF65-F5344CB8AC3E}">
        <p14:creationId xmlns:p14="http://schemas.microsoft.com/office/powerpoint/2010/main" val="23743325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1E0A3C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EEBA5560-2522-0442-AF45-BA231340F326}"/>
              </a:ext>
            </a:extLst>
          </p:cNvPr>
          <p:cNvGrpSpPr/>
          <p:nvPr/>
        </p:nvGrpSpPr>
        <p:grpSpPr>
          <a:xfrm>
            <a:off x="4597890" y="1087459"/>
            <a:ext cx="293147" cy="292608"/>
            <a:chOff x="4714058" y="1789580"/>
            <a:chExt cx="293147" cy="292608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568C01B-8ABD-0847-A9FF-607B751E508A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4714058" y="1789580"/>
              <a:ext cx="293147" cy="292608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9A6980A-9620-5D4A-85C1-2E7AFC2F4CBC}"/>
                </a:ext>
              </a:extLst>
            </p:cNvPr>
            <p:cNvPicPr>
              <a:picLocks/>
            </p:cNvPicPr>
            <p:nvPr>
              <p:custDataLst>
                <p:tags r:id="rId27"/>
              </p:custDataLst>
            </p:nvPr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4058" y="1789580"/>
              <a:ext cx="293147" cy="292608"/>
            </a:xfrm>
            <a:prstGeom prst="rect">
              <a:avLst/>
            </a:prstGeom>
          </p:spPr>
        </p:pic>
      </p:grpSp>
      <p:sp>
        <p:nvSpPr>
          <p:cNvPr id="2" name="Rectangle 1">
            <a:hlinkClick r:id="" action="ppaction://noaction"/>
            <a:extLst>
              <a:ext uri="{FF2B5EF4-FFF2-40B4-BE49-F238E27FC236}">
                <a16:creationId xmlns:a16="http://schemas.microsoft.com/office/drawing/2014/main" id="{8479178C-877E-6089-D30A-B64F8CB1826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067220" y="1067737"/>
            <a:ext cx="7124779" cy="6508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rgbClr val="000000">
                    <a:lumMod val="60000"/>
                    <a:lumOff val="40000"/>
                  </a:srgbClr>
                </a:solidFill>
                <a:latin typeface="Arial" panose="020B0604020202020204"/>
                <a:cs typeface="Arial" panose="020B0604020202020204" pitchFamily="34" charset="0"/>
              </a:rPr>
              <a:t>CUSTOMER PAIN POINTS/GAPS FOR DIFFERENT BUSINESS TYPES/PERSONAS &amp; SOLUTIONS ENVISAGED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C82E46C-3060-A893-F711-DC6FCCFD334D}"/>
              </a:ext>
            </a:extLst>
          </p:cNvPr>
          <p:cNvGrpSpPr/>
          <p:nvPr/>
        </p:nvGrpSpPr>
        <p:grpSpPr>
          <a:xfrm>
            <a:off x="4600741" y="2780951"/>
            <a:ext cx="293147" cy="292608"/>
            <a:chOff x="4714058" y="1789580"/>
            <a:chExt cx="293147" cy="292608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128C32E-3D7D-1176-EF6C-C2FEAE7D6368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4714058" y="1789580"/>
              <a:ext cx="293147" cy="292608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FC4F6EDE-9FE2-0C70-0A81-5DAF31298F02}"/>
                </a:ext>
              </a:extLst>
            </p:cNvPr>
            <p:cNvPicPr>
              <a:picLocks/>
            </p:cNvPicPr>
            <p:nvPr>
              <p:custDataLst>
                <p:tags r:id="rId25"/>
              </p:custDataLst>
            </p:nvPr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4058" y="1789580"/>
              <a:ext cx="293147" cy="292608"/>
            </a:xfrm>
            <a:prstGeom prst="rect">
              <a:avLst/>
            </a:prstGeom>
          </p:spPr>
        </p:pic>
      </p:grpSp>
      <p:sp>
        <p:nvSpPr>
          <p:cNvPr id="26" name="Rectangle 25">
            <a:hlinkClick r:id="" action="ppaction://noaction"/>
            <a:extLst>
              <a:ext uri="{FF2B5EF4-FFF2-40B4-BE49-F238E27FC236}">
                <a16:creationId xmlns:a16="http://schemas.microsoft.com/office/drawing/2014/main" id="{D19149EC-F826-202C-A1F2-C4AA5286D88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067221" y="2773366"/>
            <a:ext cx="6339768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2000">
                <a:solidFill>
                  <a:schemeClr val="tx1"/>
                </a:solidFill>
              </a:rPr>
              <a:t>AI/ML MODELLING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E421798-C269-2A82-276E-CA5F54604419}"/>
              </a:ext>
            </a:extLst>
          </p:cNvPr>
          <p:cNvGrpSpPr/>
          <p:nvPr/>
        </p:nvGrpSpPr>
        <p:grpSpPr>
          <a:xfrm>
            <a:off x="4597890" y="1939496"/>
            <a:ext cx="293147" cy="292608"/>
            <a:chOff x="4714058" y="1789580"/>
            <a:chExt cx="293147" cy="292608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F9BEF111-18CC-8D25-6D84-863A8E081E74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4714058" y="1789580"/>
              <a:ext cx="293147" cy="292608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E908CF9-2863-AF3B-A8D4-5E5F4CE156A1}"/>
                </a:ext>
              </a:extLst>
            </p:cNvPr>
            <p:cNvPicPr>
              <a:picLocks/>
            </p:cNvPicPr>
            <p:nvPr>
              <p:custDataLst>
                <p:tags r:id="rId23"/>
              </p:custDataLst>
            </p:nvPr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4058" y="1789580"/>
              <a:ext cx="293147" cy="292608"/>
            </a:xfrm>
            <a:prstGeom prst="rect">
              <a:avLst/>
            </a:prstGeom>
          </p:spPr>
        </p:pic>
      </p:grpSp>
      <p:sp>
        <p:nvSpPr>
          <p:cNvPr id="7" name="Rectangle 6">
            <a:hlinkClick r:id="" action="ppaction://noaction"/>
            <a:extLst>
              <a:ext uri="{FF2B5EF4-FFF2-40B4-BE49-F238E27FC236}">
                <a16:creationId xmlns:a16="http://schemas.microsoft.com/office/drawing/2014/main" id="{543CB200-6A7F-B17D-7039-BF3C75030CA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067221" y="1927724"/>
            <a:ext cx="6339768" cy="61555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2000">
                <a:solidFill>
                  <a:schemeClr val="tx1"/>
                </a:solidFill>
              </a:rPr>
              <a:t>WHY DID WE CHOOSE THE MODELS THAT WE CHOSE?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C4BDFD4-BD75-D6A3-B9A1-41721AEFAD5B}"/>
              </a:ext>
            </a:extLst>
          </p:cNvPr>
          <p:cNvGrpSpPr/>
          <p:nvPr/>
        </p:nvGrpSpPr>
        <p:grpSpPr>
          <a:xfrm>
            <a:off x="5529908" y="3835929"/>
            <a:ext cx="293147" cy="292608"/>
            <a:chOff x="4714058" y="1789580"/>
            <a:chExt cx="293147" cy="292608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A2D41B1E-9002-4892-6FD6-C3180A3C120A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4714058" y="1789580"/>
              <a:ext cx="293147" cy="292608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D937F82-4640-0AFB-232A-268955E39EC8}"/>
                </a:ext>
              </a:extLst>
            </p:cNvPr>
            <p:cNvPicPr>
              <a:picLocks/>
            </p:cNvPicPr>
            <p:nvPr>
              <p:custDataLst>
                <p:tags r:id="rId21"/>
              </p:custDataLst>
            </p:nvPr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4058" y="1789580"/>
              <a:ext cx="293147" cy="292608"/>
            </a:xfrm>
            <a:prstGeom prst="rect">
              <a:avLst/>
            </a:prstGeom>
          </p:spPr>
        </p:pic>
      </p:grpSp>
      <p:sp>
        <p:nvSpPr>
          <p:cNvPr id="16" name="Rectangle 15">
            <a:hlinkClick r:id="" action="ppaction://noaction"/>
            <a:extLst>
              <a:ext uri="{FF2B5EF4-FFF2-40B4-BE49-F238E27FC236}">
                <a16:creationId xmlns:a16="http://schemas.microsoft.com/office/drawing/2014/main" id="{53B2950F-9DAC-6A9E-C458-7BCA3AAB927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949335" y="3835929"/>
            <a:ext cx="6101989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600">
                <a:solidFill>
                  <a:schemeClr val="tx1"/>
                </a:solidFill>
              </a:rPr>
              <a:t>DATA PREPARTION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3A55106-97B4-E457-C954-EF52D29A79F8}"/>
              </a:ext>
            </a:extLst>
          </p:cNvPr>
          <p:cNvGrpSpPr/>
          <p:nvPr/>
        </p:nvGrpSpPr>
        <p:grpSpPr>
          <a:xfrm>
            <a:off x="5529908" y="4425960"/>
            <a:ext cx="293147" cy="292608"/>
            <a:chOff x="4714058" y="1789580"/>
            <a:chExt cx="293147" cy="292608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0F64B4A-56A4-5208-46AD-08665E9942B4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4714058" y="1789580"/>
              <a:ext cx="293147" cy="292608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66B7529D-562B-3DFF-865D-3885D123AE0E}"/>
                </a:ext>
              </a:extLst>
            </p:cNvPr>
            <p:cNvPicPr>
              <a:picLocks/>
            </p:cNvPicPr>
            <p:nvPr>
              <p:custDataLst>
                <p:tags r:id="rId19"/>
              </p:custDataLst>
            </p:nvPr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4058" y="1789580"/>
              <a:ext cx="293147" cy="292608"/>
            </a:xfrm>
            <a:prstGeom prst="rect">
              <a:avLst/>
            </a:prstGeom>
          </p:spPr>
        </p:pic>
      </p:grpSp>
      <p:sp>
        <p:nvSpPr>
          <p:cNvPr id="21" name="Rectangle 20">
            <a:hlinkClick r:id="" action="ppaction://noaction"/>
            <a:extLst>
              <a:ext uri="{FF2B5EF4-FFF2-40B4-BE49-F238E27FC236}">
                <a16:creationId xmlns:a16="http://schemas.microsoft.com/office/drawing/2014/main" id="{9DBEF588-CDBB-C189-F5B9-622FAC20A44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949335" y="4425960"/>
            <a:ext cx="6101989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600">
                <a:solidFill>
                  <a:schemeClr val="tx1"/>
                </a:solidFill>
              </a:rPr>
              <a:t>MODEL EVALUATION &amp; PREDIC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9DB0377-14FF-15B5-6A72-F848A954F7A3}"/>
              </a:ext>
            </a:extLst>
          </p:cNvPr>
          <p:cNvGrpSpPr/>
          <p:nvPr/>
        </p:nvGrpSpPr>
        <p:grpSpPr>
          <a:xfrm>
            <a:off x="5529907" y="5074798"/>
            <a:ext cx="293147" cy="292608"/>
            <a:chOff x="4714058" y="1789580"/>
            <a:chExt cx="293147" cy="292608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657234F-2690-5C51-C095-91D4A3AEA114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4714058" y="1789580"/>
              <a:ext cx="293147" cy="292608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E229935-1C9C-FF24-6FF3-008C34E9060C}"/>
                </a:ext>
              </a:extLst>
            </p:cNvPr>
            <p:cNvPicPr>
              <a:picLocks/>
            </p:cNvPicPr>
            <p:nvPr>
              <p:custDataLst>
                <p:tags r:id="rId17"/>
              </p:custDataLst>
            </p:nvPr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4058" y="1789580"/>
              <a:ext cx="293147" cy="292608"/>
            </a:xfrm>
            <a:prstGeom prst="rect">
              <a:avLst/>
            </a:prstGeom>
          </p:spPr>
        </p:pic>
      </p:grpSp>
      <p:sp>
        <p:nvSpPr>
          <p:cNvPr id="25" name="Rectangle 24">
            <a:hlinkClick r:id="" action="ppaction://noaction"/>
            <a:extLst>
              <a:ext uri="{FF2B5EF4-FFF2-40B4-BE49-F238E27FC236}">
                <a16:creationId xmlns:a16="http://schemas.microsoft.com/office/drawing/2014/main" id="{E9536D6B-D2BC-34C1-3386-93773E32470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949335" y="5084129"/>
            <a:ext cx="6101989" cy="49244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600">
                <a:solidFill>
                  <a:schemeClr val="tx1"/>
                </a:solidFill>
              </a:rPr>
              <a:t>INVENTORY REPLENISHMENT – REORDER POINT &amp; SAFETY STOCK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8A9E7C1-EFAC-44AF-D95A-9F002EE21846}"/>
              </a:ext>
            </a:extLst>
          </p:cNvPr>
          <p:cNvGrpSpPr/>
          <p:nvPr/>
        </p:nvGrpSpPr>
        <p:grpSpPr>
          <a:xfrm>
            <a:off x="4597889" y="5805810"/>
            <a:ext cx="293147" cy="292608"/>
            <a:chOff x="4714058" y="1789580"/>
            <a:chExt cx="293147" cy="292608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E2A3B42-F665-5F7C-D105-3309679C36A5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4714058" y="1789580"/>
              <a:ext cx="293147" cy="292608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1CE37C71-166A-1285-C653-B73959AAE005}"/>
                </a:ext>
              </a:extLst>
            </p:cNvPr>
            <p:cNvPicPr>
              <a:picLocks/>
            </p:cNvPicPr>
            <p:nvPr>
              <p:custDataLst>
                <p:tags r:id="rId15"/>
              </p:custDataLst>
            </p:nvPr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4058" y="1789580"/>
              <a:ext cx="293147" cy="292608"/>
            </a:xfrm>
            <a:prstGeom prst="rect">
              <a:avLst/>
            </a:prstGeom>
          </p:spPr>
        </p:pic>
      </p:grpSp>
      <p:sp>
        <p:nvSpPr>
          <p:cNvPr id="30" name="Rectangle 29">
            <a:hlinkClick r:id="" action="ppaction://noaction"/>
            <a:extLst>
              <a:ext uri="{FF2B5EF4-FFF2-40B4-BE49-F238E27FC236}">
                <a16:creationId xmlns:a16="http://schemas.microsoft.com/office/drawing/2014/main" id="{94CFF050-47D7-5109-BE1A-6EBB7754349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067221" y="5790641"/>
            <a:ext cx="6339768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2000">
                <a:solidFill>
                  <a:schemeClr val="tx1"/>
                </a:solidFill>
              </a:rPr>
              <a:t>BENEFITS – CUSTOMER &amp; TBH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1A57D42-3A03-8F03-6E6C-18A61DD30B1A}"/>
              </a:ext>
            </a:extLst>
          </p:cNvPr>
          <p:cNvGrpSpPr/>
          <p:nvPr/>
        </p:nvGrpSpPr>
        <p:grpSpPr>
          <a:xfrm>
            <a:off x="5529907" y="3270689"/>
            <a:ext cx="293147" cy="292608"/>
            <a:chOff x="4714058" y="1789580"/>
            <a:chExt cx="293147" cy="292608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83E35866-E568-53EF-BAD8-D62593EF5B13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4714058" y="1789580"/>
              <a:ext cx="293147" cy="292608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BD8D1D25-F9EC-B7CF-CCB0-126496FE7C17}"/>
                </a:ext>
              </a:extLst>
            </p:cNvPr>
            <p:cNvPicPr>
              <a:picLocks/>
            </p:cNvPicPr>
            <p:nvPr>
              <p:custDataLst>
                <p:tags r:id="rId13"/>
              </p:custDataLst>
            </p:nvPr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4058" y="1789580"/>
              <a:ext cx="293147" cy="292608"/>
            </a:xfrm>
            <a:prstGeom prst="rect">
              <a:avLst/>
            </a:prstGeom>
          </p:spPr>
        </p:pic>
      </p:grpSp>
      <p:sp>
        <p:nvSpPr>
          <p:cNvPr id="34" name="Rectangle 33">
            <a:hlinkClick r:id="" action="ppaction://noaction"/>
            <a:extLst>
              <a:ext uri="{FF2B5EF4-FFF2-40B4-BE49-F238E27FC236}">
                <a16:creationId xmlns:a16="http://schemas.microsoft.com/office/drawing/2014/main" id="{22578CF1-59A6-33B4-99D4-5765DDA19D2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5949334" y="3270689"/>
            <a:ext cx="6101989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600">
                <a:solidFill>
                  <a:schemeClr val="tx1"/>
                </a:solidFill>
              </a:rPr>
              <a:t>DATA INTRODUCTION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59088B9A-D78A-7514-A6A0-7784C945C8FA}"/>
              </a:ext>
            </a:extLst>
          </p:cNvPr>
          <p:cNvCxnSpPr/>
          <p:nvPr/>
        </p:nvCxnSpPr>
        <p:spPr>
          <a:xfrm>
            <a:off x="6811108" y="3645877"/>
            <a:ext cx="2379784" cy="0"/>
          </a:xfrm>
          <a:prstGeom prst="straightConnector1">
            <a:avLst/>
          </a:prstGeom>
          <a:ln w="19050" cap="rnd">
            <a:solidFill>
              <a:srgbClr val="00B050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hlinkClick r:id="" action="ppaction://noaction"/>
            <a:extLst>
              <a:ext uri="{FF2B5EF4-FFF2-40B4-BE49-F238E27FC236}">
                <a16:creationId xmlns:a16="http://schemas.microsoft.com/office/drawing/2014/main" id="{2E45798C-5521-0709-EA5D-8605A08212B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303906" y="3529478"/>
            <a:ext cx="2653632" cy="246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600" b="1" i="1">
                <a:solidFill>
                  <a:srgbClr val="00B050"/>
                </a:solidFill>
              </a:rPr>
              <a:t>DEMO: Inputs to the model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9F033482-73B7-EBB2-C11E-5CCD71C8FB8A}"/>
              </a:ext>
            </a:extLst>
          </p:cNvPr>
          <p:cNvCxnSpPr/>
          <p:nvPr/>
        </p:nvCxnSpPr>
        <p:spPr>
          <a:xfrm>
            <a:off x="6951785" y="5567664"/>
            <a:ext cx="2379784" cy="0"/>
          </a:xfrm>
          <a:prstGeom prst="straightConnector1">
            <a:avLst/>
          </a:prstGeom>
          <a:ln w="19050" cap="rnd">
            <a:solidFill>
              <a:srgbClr val="00B050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hlinkClick r:id="" action="ppaction://noaction"/>
            <a:extLst>
              <a:ext uri="{FF2B5EF4-FFF2-40B4-BE49-F238E27FC236}">
                <a16:creationId xmlns:a16="http://schemas.microsoft.com/office/drawing/2014/main" id="{DFC90943-9B48-10C5-E20E-C202CCB7173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444583" y="5451265"/>
            <a:ext cx="2290218" cy="24841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600" b="1" i="1">
                <a:solidFill>
                  <a:srgbClr val="00B050"/>
                </a:solidFill>
              </a:rPr>
              <a:t>DEMO: Output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E96884BD-C87E-1B2C-64A3-737083542C51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234462" y="2802674"/>
            <a:ext cx="2381250" cy="1504950"/>
          </a:xfrm>
          <a:prstGeom prst="rect">
            <a:avLst/>
          </a:prstGeom>
        </p:spPr>
      </p:pic>
      <p:sp>
        <p:nvSpPr>
          <p:cNvPr id="46" name="Rectangle 45">
            <a:hlinkClick r:id="" action="ppaction://noaction"/>
            <a:extLst>
              <a:ext uri="{FF2B5EF4-FFF2-40B4-BE49-F238E27FC236}">
                <a16:creationId xmlns:a16="http://schemas.microsoft.com/office/drawing/2014/main" id="{9FE46280-C5E8-DC3D-58A4-077E079145D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50644" y="2818969"/>
            <a:ext cx="2729060" cy="73866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2400" b="1">
                <a:solidFill>
                  <a:schemeClr val="bg1"/>
                </a:solidFill>
              </a:rPr>
              <a:t>FLOW OF OUR PRESENTATION</a:t>
            </a:r>
          </a:p>
        </p:txBody>
      </p:sp>
    </p:spTree>
    <p:extLst>
      <p:ext uri="{BB962C8B-B14F-4D97-AF65-F5344CB8AC3E}">
        <p14:creationId xmlns:p14="http://schemas.microsoft.com/office/powerpoint/2010/main" val="32571198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8D0DE0-522F-29B0-8202-964439F707B1}"/>
              </a:ext>
            </a:extLst>
          </p:cNvPr>
          <p:cNvSpPr txBox="1">
            <a:spLocks/>
          </p:cNvSpPr>
          <p:nvPr/>
        </p:nvSpPr>
        <p:spPr>
          <a:xfrm>
            <a:off x="510271" y="459609"/>
            <a:ext cx="10933350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VOICE OF </a:t>
            </a: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CUSTOMER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C4123E2-6688-3177-7F67-EC77BEFE0F27}"/>
              </a:ext>
            </a:extLst>
          </p:cNvPr>
          <p:cNvSpPr/>
          <p:nvPr/>
        </p:nvSpPr>
        <p:spPr>
          <a:xfrm>
            <a:off x="445911" y="5779911"/>
            <a:ext cx="11300178" cy="101600"/>
          </a:xfrm>
          <a:prstGeom prst="roundRect">
            <a:avLst/>
          </a:prstGeom>
          <a:gradFill>
            <a:gsLst>
              <a:gs pos="1835">
                <a:schemeClr val="bg1"/>
              </a:gs>
              <a:gs pos="21000">
                <a:schemeClr val="accent1">
                  <a:lumMod val="5000"/>
                  <a:lumOff val="95000"/>
                </a:schemeClr>
              </a:gs>
              <a:gs pos="71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89000">
                <a:schemeClr val="bg1"/>
              </a:gs>
              <a:gs pos="67000">
                <a:schemeClr val="accent1">
                  <a:lumMod val="30000"/>
                  <a:lumOff val="70000"/>
                </a:schemeClr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6" name="Google Shape;249;p3">
            <a:extLst>
              <a:ext uri="{FF2B5EF4-FFF2-40B4-BE49-F238E27FC236}">
                <a16:creationId xmlns:a16="http://schemas.microsoft.com/office/drawing/2014/main" id="{2D7350F7-78BE-EB48-9D80-A79F0D05FCE3}"/>
              </a:ext>
            </a:extLst>
          </p:cNvPr>
          <p:cNvGrpSpPr/>
          <p:nvPr/>
        </p:nvGrpSpPr>
        <p:grpSpPr>
          <a:xfrm>
            <a:off x="5486982" y="4531093"/>
            <a:ext cx="1218035" cy="1240878"/>
            <a:chOff x="4078288" y="1327151"/>
            <a:chExt cx="2058988" cy="2338388"/>
          </a:xfrm>
        </p:grpSpPr>
        <p:sp>
          <p:nvSpPr>
            <p:cNvPr id="8" name="Google Shape;250;p3">
              <a:extLst>
                <a:ext uri="{FF2B5EF4-FFF2-40B4-BE49-F238E27FC236}">
                  <a16:creationId xmlns:a16="http://schemas.microsoft.com/office/drawing/2014/main" id="{A5DE9B06-48E1-2906-4ED0-C9E060B8F569}"/>
                </a:ext>
              </a:extLst>
            </p:cNvPr>
            <p:cNvSpPr/>
            <p:nvPr/>
          </p:nvSpPr>
          <p:spPr>
            <a:xfrm>
              <a:off x="4189413" y="1412876"/>
              <a:ext cx="1435100" cy="1698625"/>
            </a:xfrm>
            <a:custGeom>
              <a:avLst/>
              <a:gdLst/>
              <a:ahLst/>
              <a:cxnLst/>
              <a:rect l="l" t="t" r="r" b="b"/>
              <a:pathLst>
                <a:path w="852" h="1010" extrusionOk="0">
                  <a:moveTo>
                    <a:pt x="634" y="56"/>
                  </a:moveTo>
                  <a:cubicBezTo>
                    <a:pt x="553" y="6"/>
                    <a:pt x="458" y="0"/>
                    <a:pt x="366" y="18"/>
                  </a:cubicBezTo>
                  <a:cubicBezTo>
                    <a:pt x="299" y="31"/>
                    <a:pt x="226" y="61"/>
                    <a:pt x="181" y="113"/>
                  </a:cubicBezTo>
                  <a:cubicBezTo>
                    <a:pt x="148" y="151"/>
                    <a:pt x="141" y="204"/>
                    <a:pt x="131" y="252"/>
                  </a:cubicBezTo>
                  <a:cubicBezTo>
                    <a:pt x="121" y="300"/>
                    <a:pt x="127" y="349"/>
                    <a:pt x="118" y="398"/>
                  </a:cubicBezTo>
                  <a:cubicBezTo>
                    <a:pt x="72" y="360"/>
                    <a:pt x="21" y="380"/>
                    <a:pt x="6" y="436"/>
                  </a:cubicBezTo>
                  <a:cubicBezTo>
                    <a:pt x="0" y="461"/>
                    <a:pt x="2" y="486"/>
                    <a:pt x="6" y="511"/>
                  </a:cubicBezTo>
                  <a:cubicBezTo>
                    <a:pt x="10" y="535"/>
                    <a:pt x="12" y="564"/>
                    <a:pt x="27" y="584"/>
                  </a:cubicBezTo>
                  <a:cubicBezTo>
                    <a:pt x="45" y="608"/>
                    <a:pt x="76" y="608"/>
                    <a:pt x="104" y="604"/>
                  </a:cubicBezTo>
                  <a:cubicBezTo>
                    <a:pt x="111" y="658"/>
                    <a:pt x="126" y="711"/>
                    <a:pt x="151" y="760"/>
                  </a:cubicBezTo>
                  <a:cubicBezTo>
                    <a:pt x="179" y="812"/>
                    <a:pt x="213" y="845"/>
                    <a:pt x="267" y="868"/>
                  </a:cubicBezTo>
                  <a:cubicBezTo>
                    <a:pt x="289" y="877"/>
                    <a:pt x="304" y="887"/>
                    <a:pt x="315" y="909"/>
                  </a:cubicBezTo>
                  <a:cubicBezTo>
                    <a:pt x="326" y="931"/>
                    <a:pt x="335" y="952"/>
                    <a:pt x="353" y="968"/>
                  </a:cubicBezTo>
                  <a:cubicBezTo>
                    <a:pt x="387" y="999"/>
                    <a:pt x="443" y="1010"/>
                    <a:pt x="488" y="1001"/>
                  </a:cubicBezTo>
                  <a:cubicBezTo>
                    <a:pt x="539" y="990"/>
                    <a:pt x="578" y="941"/>
                    <a:pt x="572" y="889"/>
                  </a:cubicBezTo>
                  <a:cubicBezTo>
                    <a:pt x="572" y="883"/>
                    <a:pt x="570" y="876"/>
                    <a:pt x="569" y="870"/>
                  </a:cubicBezTo>
                  <a:cubicBezTo>
                    <a:pt x="609" y="849"/>
                    <a:pt x="645" y="815"/>
                    <a:pt x="673" y="780"/>
                  </a:cubicBezTo>
                  <a:cubicBezTo>
                    <a:pt x="704" y="742"/>
                    <a:pt x="715" y="699"/>
                    <a:pt x="722" y="651"/>
                  </a:cubicBezTo>
                  <a:cubicBezTo>
                    <a:pt x="726" y="624"/>
                    <a:pt x="731" y="596"/>
                    <a:pt x="730" y="568"/>
                  </a:cubicBezTo>
                  <a:cubicBezTo>
                    <a:pt x="786" y="607"/>
                    <a:pt x="815" y="552"/>
                    <a:pt x="828" y="503"/>
                  </a:cubicBezTo>
                  <a:cubicBezTo>
                    <a:pt x="840" y="456"/>
                    <a:pt x="852" y="386"/>
                    <a:pt x="793" y="366"/>
                  </a:cubicBezTo>
                  <a:cubicBezTo>
                    <a:pt x="763" y="356"/>
                    <a:pt x="736" y="365"/>
                    <a:pt x="713" y="384"/>
                  </a:cubicBezTo>
                  <a:cubicBezTo>
                    <a:pt x="711" y="339"/>
                    <a:pt x="715" y="297"/>
                    <a:pt x="706" y="252"/>
                  </a:cubicBezTo>
                  <a:cubicBezTo>
                    <a:pt x="699" y="212"/>
                    <a:pt x="692" y="170"/>
                    <a:pt x="678" y="132"/>
                  </a:cubicBezTo>
                  <a:cubicBezTo>
                    <a:pt x="673" y="116"/>
                    <a:pt x="663" y="86"/>
                    <a:pt x="646" y="79"/>
                  </a:cubicBezTo>
                  <a:cubicBezTo>
                    <a:pt x="634" y="56"/>
                    <a:pt x="634" y="56"/>
                    <a:pt x="634" y="56"/>
                  </a:cubicBezTo>
                  <a:close/>
                </a:path>
              </a:pathLst>
            </a:custGeom>
            <a:solidFill>
              <a:srgbClr val="FEDEC7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9" name="Google Shape;251;p3">
              <a:extLst>
                <a:ext uri="{FF2B5EF4-FFF2-40B4-BE49-F238E27FC236}">
                  <a16:creationId xmlns:a16="http://schemas.microsoft.com/office/drawing/2014/main" id="{69FCA9CB-F3AE-5EDB-26F5-D66C2A3C272B}"/>
                </a:ext>
              </a:extLst>
            </p:cNvPr>
            <p:cNvSpPr/>
            <p:nvPr/>
          </p:nvSpPr>
          <p:spPr>
            <a:xfrm>
              <a:off x="4348163" y="1354139"/>
              <a:ext cx="1095375" cy="776288"/>
            </a:xfrm>
            <a:custGeom>
              <a:avLst/>
              <a:gdLst/>
              <a:ahLst/>
              <a:cxnLst/>
              <a:rect l="l" t="t" r="r" b="b"/>
              <a:pathLst>
                <a:path w="651" h="462" extrusionOk="0">
                  <a:moveTo>
                    <a:pt x="536" y="88"/>
                  </a:moveTo>
                  <a:cubicBezTo>
                    <a:pt x="503" y="34"/>
                    <a:pt x="455" y="16"/>
                    <a:pt x="394" y="8"/>
                  </a:cubicBezTo>
                  <a:cubicBezTo>
                    <a:pt x="332" y="0"/>
                    <a:pt x="274" y="9"/>
                    <a:pt x="215" y="30"/>
                  </a:cubicBezTo>
                  <a:cubicBezTo>
                    <a:pt x="159" y="51"/>
                    <a:pt x="105" y="78"/>
                    <a:pt x="64" y="123"/>
                  </a:cubicBezTo>
                  <a:cubicBezTo>
                    <a:pt x="20" y="172"/>
                    <a:pt x="14" y="225"/>
                    <a:pt x="13" y="288"/>
                  </a:cubicBezTo>
                  <a:cubicBezTo>
                    <a:pt x="12" y="342"/>
                    <a:pt x="0" y="411"/>
                    <a:pt x="44" y="451"/>
                  </a:cubicBezTo>
                  <a:cubicBezTo>
                    <a:pt x="48" y="455"/>
                    <a:pt x="52" y="459"/>
                    <a:pt x="57" y="462"/>
                  </a:cubicBezTo>
                  <a:cubicBezTo>
                    <a:pt x="61" y="390"/>
                    <a:pt x="57" y="312"/>
                    <a:pt x="77" y="241"/>
                  </a:cubicBezTo>
                  <a:cubicBezTo>
                    <a:pt x="99" y="166"/>
                    <a:pt x="153" y="145"/>
                    <a:pt x="226" y="161"/>
                  </a:cubicBezTo>
                  <a:cubicBezTo>
                    <a:pt x="262" y="169"/>
                    <a:pt x="297" y="179"/>
                    <a:pt x="334" y="177"/>
                  </a:cubicBezTo>
                  <a:cubicBezTo>
                    <a:pt x="371" y="176"/>
                    <a:pt x="404" y="162"/>
                    <a:pt x="438" y="149"/>
                  </a:cubicBezTo>
                  <a:cubicBezTo>
                    <a:pt x="465" y="138"/>
                    <a:pt x="497" y="125"/>
                    <a:pt x="526" y="135"/>
                  </a:cubicBezTo>
                  <a:cubicBezTo>
                    <a:pt x="553" y="144"/>
                    <a:pt x="569" y="172"/>
                    <a:pt x="578" y="198"/>
                  </a:cubicBezTo>
                  <a:cubicBezTo>
                    <a:pt x="602" y="265"/>
                    <a:pt x="602" y="342"/>
                    <a:pt x="604" y="413"/>
                  </a:cubicBezTo>
                  <a:cubicBezTo>
                    <a:pt x="605" y="421"/>
                    <a:pt x="605" y="430"/>
                    <a:pt x="606" y="439"/>
                  </a:cubicBezTo>
                  <a:cubicBezTo>
                    <a:pt x="640" y="435"/>
                    <a:pt x="641" y="410"/>
                    <a:pt x="641" y="381"/>
                  </a:cubicBezTo>
                  <a:cubicBezTo>
                    <a:pt x="641" y="351"/>
                    <a:pt x="645" y="321"/>
                    <a:pt x="645" y="291"/>
                  </a:cubicBezTo>
                  <a:cubicBezTo>
                    <a:pt x="644" y="235"/>
                    <a:pt x="651" y="178"/>
                    <a:pt x="620" y="128"/>
                  </a:cubicBezTo>
                  <a:cubicBezTo>
                    <a:pt x="603" y="102"/>
                    <a:pt x="579" y="92"/>
                    <a:pt x="549" y="88"/>
                  </a:cubicBezTo>
                  <a:cubicBezTo>
                    <a:pt x="536" y="88"/>
                    <a:pt x="536" y="88"/>
                    <a:pt x="536" y="88"/>
                  </a:cubicBezTo>
                  <a:close/>
                </a:path>
              </a:pathLst>
            </a:custGeom>
            <a:solidFill>
              <a:srgbClr val="8E684F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0" name="Google Shape;252;p3">
              <a:extLst>
                <a:ext uri="{FF2B5EF4-FFF2-40B4-BE49-F238E27FC236}">
                  <a16:creationId xmlns:a16="http://schemas.microsoft.com/office/drawing/2014/main" id="{2216975E-A78C-D2E0-ADD5-77A6AC0E6F7E}"/>
                </a:ext>
              </a:extLst>
            </p:cNvPr>
            <p:cNvSpPr/>
            <p:nvPr/>
          </p:nvSpPr>
          <p:spPr>
            <a:xfrm>
              <a:off x="4098926" y="2922589"/>
              <a:ext cx="1714500" cy="742950"/>
            </a:xfrm>
            <a:custGeom>
              <a:avLst/>
              <a:gdLst/>
              <a:ahLst/>
              <a:cxnLst/>
              <a:rect l="l" t="t" r="r" b="b"/>
              <a:pathLst>
                <a:path w="1018" h="442" extrusionOk="0">
                  <a:moveTo>
                    <a:pt x="1018" y="442"/>
                  </a:moveTo>
                  <a:cubicBezTo>
                    <a:pt x="1013" y="421"/>
                    <a:pt x="1008" y="401"/>
                    <a:pt x="1003" y="381"/>
                  </a:cubicBezTo>
                  <a:cubicBezTo>
                    <a:pt x="992" y="340"/>
                    <a:pt x="990" y="298"/>
                    <a:pt x="976" y="258"/>
                  </a:cubicBezTo>
                  <a:cubicBezTo>
                    <a:pt x="965" y="226"/>
                    <a:pt x="950" y="187"/>
                    <a:pt x="927" y="160"/>
                  </a:cubicBezTo>
                  <a:cubicBezTo>
                    <a:pt x="902" y="131"/>
                    <a:pt x="860" y="120"/>
                    <a:pt x="825" y="106"/>
                  </a:cubicBezTo>
                  <a:cubicBezTo>
                    <a:pt x="783" y="89"/>
                    <a:pt x="739" y="76"/>
                    <a:pt x="696" y="60"/>
                  </a:cubicBezTo>
                  <a:cubicBezTo>
                    <a:pt x="695" y="40"/>
                    <a:pt x="695" y="31"/>
                    <a:pt x="676" y="20"/>
                  </a:cubicBezTo>
                  <a:cubicBezTo>
                    <a:pt x="662" y="12"/>
                    <a:pt x="647" y="7"/>
                    <a:pt x="633" y="0"/>
                  </a:cubicBezTo>
                  <a:cubicBezTo>
                    <a:pt x="621" y="32"/>
                    <a:pt x="611" y="53"/>
                    <a:pt x="588" y="78"/>
                  </a:cubicBezTo>
                  <a:cubicBezTo>
                    <a:pt x="580" y="86"/>
                    <a:pt x="569" y="98"/>
                    <a:pt x="559" y="103"/>
                  </a:cubicBezTo>
                  <a:cubicBezTo>
                    <a:pt x="545" y="109"/>
                    <a:pt x="527" y="104"/>
                    <a:pt x="512" y="105"/>
                  </a:cubicBezTo>
                  <a:cubicBezTo>
                    <a:pt x="494" y="107"/>
                    <a:pt x="477" y="111"/>
                    <a:pt x="458" y="110"/>
                  </a:cubicBezTo>
                  <a:cubicBezTo>
                    <a:pt x="459" y="86"/>
                    <a:pt x="430" y="79"/>
                    <a:pt x="412" y="69"/>
                  </a:cubicBezTo>
                  <a:cubicBezTo>
                    <a:pt x="401" y="63"/>
                    <a:pt x="368" y="33"/>
                    <a:pt x="373" y="24"/>
                  </a:cubicBezTo>
                  <a:cubicBezTo>
                    <a:pt x="363" y="10"/>
                    <a:pt x="363" y="10"/>
                    <a:pt x="363" y="10"/>
                  </a:cubicBezTo>
                  <a:cubicBezTo>
                    <a:pt x="347" y="8"/>
                    <a:pt x="331" y="25"/>
                    <a:pt x="322" y="36"/>
                  </a:cubicBezTo>
                  <a:cubicBezTo>
                    <a:pt x="308" y="54"/>
                    <a:pt x="311" y="63"/>
                    <a:pt x="312" y="83"/>
                  </a:cubicBezTo>
                  <a:cubicBezTo>
                    <a:pt x="274" y="96"/>
                    <a:pt x="237" y="112"/>
                    <a:pt x="198" y="126"/>
                  </a:cubicBezTo>
                  <a:cubicBezTo>
                    <a:pt x="163" y="138"/>
                    <a:pt x="125" y="147"/>
                    <a:pt x="99" y="175"/>
                  </a:cubicBezTo>
                  <a:cubicBezTo>
                    <a:pt x="76" y="199"/>
                    <a:pt x="63" y="233"/>
                    <a:pt x="51" y="264"/>
                  </a:cubicBezTo>
                  <a:cubicBezTo>
                    <a:pt x="38" y="300"/>
                    <a:pt x="23" y="336"/>
                    <a:pt x="14" y="373"/>
                  </a:cubicBezTo>
                  <a:cubicBezTo>
                    <a:pt x="8" y="396"/>
                    <a:pt x="4" y="419"/>
                    <a:pt x="0" y="442"/>
                  </a:cubicBezTo>
                  <a:cubicBezTo>
                    <a:pt x="1018" y="442"/>
                    <a:pt x="1018" y="442"/>
                    <a:pt x="1018" y="442"/>
                  </a:cubicBezTo>
                  <a:close/>
                </a:path>
              </a:pathLst>
            </a:custGeom>
            <a:solidFill>
              <a:srgbClr val="ECF8FE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1" name="Google Shape;253;p3">
              <a:extLst>
                <a:ext uri="{FF2B5EF4-FFF2-40B4-BE49-F238E27FC236}">
                  <a16:creationId xmlns:a16="http://schemas.microsoft.com/office/drawing/2014/main" id="{432B7C36-CA15-557F-EBCB-746180B91C5F}"/>
                </a:ext>
              </a:extLst>
            </p:cNvPr>
            <p:cNvSpPr/>
            <p:nvPr/>
          </p:nvSpPr>
          <p:spPr>
            <a:xfrm>
              <a:off x="4813301" y="3081339"/>
              <a:ext cx="377825" cy="584200"/>
            </a:xfrm>
            <a:custGeom>
              <a:avLst/>
              <a:gdLst/>
              <a:ahLst/>
              <a:cxnLst/>
              <a:rect l="l" t="t" r="r" b="b"/>
              <a:pathLst>
                <a:path w="224" h="348" extrusionOk="0">
                  <a:moveTo>
                    <a:pt x="43" y="154"/>
                  </a:moveTo>
                  <a:cubicBezTo>
                    <a:pt x="53" y="166"/>
                    <a:pt x="70" y="175"/>
                    <a:pt x="71" y="192"/>
                  </a:cubicBezTo>
                  <a:cubicBezTo>
                    <a:pt x="72" y="209"/>
                    <a:pt x="56" y="229"/>
                    <a:pt x="51" y="245"/>
                  </a:cubicBezTo>
                  <a:cubicBezTo>
                    <a:pt x="45" y="264"/>
                    <a:pt x="40" y="283"/>
                    <a:pt x="34" y="302"/>
                  </a:cubicBezTo>
                  <a:cubicBezTo>
                    <a:pt x="30" y="317"/>
                    <a:pt x="26" y="332"/>
                    <a:pt x="24" y="348"/>
                  </a:cubicBezTo>
                  <a:cubicBezTo>
                    <a:pt x="224" y="348"/>
                    <a:pt x="224" y="348"/>
                    <a:pt x="224" y="348"/>
                  </a:cubicBezTo>
                  <a:cubicBezTo>
                    <a:pt x="221" y="334"/>
                    <a:pt x="217" y="320"/>
                    <a:pt x="213" y="306"/>
                  </a:cubicBezTo>
                  <a:cubicBezTo>
                    <a:pt x="203" y="275"/>
                    <a:pt x="187" y="242"/>
                    <a:pt x="172" y="212"/>
                  </a:cubicBezTo>
                  <a:cubicBezTo>
                    <a:pt x="164" y="196"/>
                    <a:pt x="153" y="182"/>
                    <a:pt x="141" y="169"/>
                  </a:cubicBezTo>
                  <a:cubicBezTo>
                    <a:pt x="151" y="147"/>
                    <a:pt x="170" y="133"/>
                    <a:pt x="178" y="110"/>
                  </a:cubicBezTo>
                  <a:cubicBezTo>
                    <a:pt x="188" y="83"/>
                    <a:pt x="190" y="70"/>
                    <a:pt x="174" y="46"/>
                  </a:cubicBezTo>
                  <a:cubicBezTo>
                    <a:pt x="169" y="38"/>
                    <a:pt x="162" y="29"/>
                    <a:pt x="156" y="22"/>
                  </a:cubicBezTo>
                  <a:cubicBezTo>
                    <a:pt x="144" y="12"/>
                    <a:pt x="144" y="12"/>
                    <a:pt x="144" y="12"/>
                  </a:cubicBezTo>
                  <a:cubicBezTo>
                    <a:pt x="109" y="5"/>
                    <a:pt x="67" y="0"/>
                    <a:pt x="33" y="13"/>
                  </a:cubicBezTo>
                  <a:cubicBezTo>
                    <a:pt x="1" y="25"/>
                    <a:pt x="0" y="82"/>
                    <a:pt x="13" y="108"/>
                  </a:cubicBezTo>
                  <a:cubicBezTo>
                    <a:pt x="21" y="124"/>
                    <a:pt x="32" y="141"/>
                    <a:pt x="43" y="154"/>
                  </a:cubicBezTo>
                  <a:close/>
                </a:path>
              </a:pathLst>
            </a:custGeom>
            <a:solidFill>
              <a:srgbClr val="007C9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3" name="Google Shape;254;p3">
              <a:extLst>
                <a:ext uri="{FF2B5EF4-FFF2-40B4-BE49-F238E27FC236}">
                  <a16:creationId xmlns:a16="http://schemas.microsoft.com/office/drawing/2014/main" id="{801B67B0-CE06-F63C-D458-9FF3AFAFDC47}"/>
                </a:ext>
              </a:extLst>
            </p:cNvPr>
            <p:cNvSpPr/>
            <p:nvPr/>
          </p:nvSpPr>
          <p:spPr>
            <a:xfrm>
              <a:off x="4214813" y="2095501"/>
              <a:ext cx="155575" cy="292100"/>
            </a:xfrm>
            <a:custGeom>
              <a:avLst/>
              <a:gdLst/>
              <a:ahLst/>
              <a:cxnLst/>
              <a:rect l="l" t="t" r="r" b="b"/>
              <a:pathLst>
                <a:path w="93" h="174" extrusionOk="0">
                  <a:moveTo>
                    <a:pt x="80" y="109"/>
                  </a:moveTo>
                  <a:cubicBezTo>
                    <a:pt x="74" y="84"/>
                    <a:pt x="92" y="60"/>
                    <a:pt x="82" y="36"/>
                  </a:cubicBezTo>
                  <a:cubicBezTo>
                    <a:pt x="73" y="13"/>
                    <a:pt x="42" y="0"/>
                    <a:pt x="21" y="16"/>
                  </a:cubicBezTo>
                  <a:cubicBezTo>
                    <a:pt x="0" y="32"/>
                    <a:pt x="13" y="60"/>
                    <a:pt x="17" y="80"/>
                  </a:cubicBezTo>
                  <a:cubicBezTo>
                    <a:pt x="21" y="105"/>
                    <a:pt x="18" y="129"/>
                    <a:pt x="37" y="148"/>
                  </a:cubicBezTo>
                  <a:cubicBezTo>
                    <a:pt x="62" y="174"/>
                    <a:pt x="93" y="157"/>
                    <a:pt x="86" y="122"/>
                  </a:cubicBezTo>
                  <a:cubicBezTo>
                    <a:pt x="80" y="109"/>
                    <a:pt x="80" y="109"/>
                    <a:pt x="80" y="109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4" name="Google Shape;255;p3">
              <a:extLst>
                <a:ext uri="{FF2B5EF4-FFF2-40B4-BE49-F238E27FC236}">
                  <a16:creationId xmlns:a16="http://schemas.microsoft.com/office/drawing/2014/main" id="{F86A0E6F-2157-C2A5-97D5-1E5165CA7532}"/>
                </a:ext>
              </a:extLst>
            </p:cNvPr>
            <p:cNvSpPr/>
            <p:nvPr/>
          </p:nvSpPr>
          <p:spPr>
            <a:xfrm>
              <a:off x="5437188" y="2084389"/>
              <a:ext cx="123825" cy="258763"/>
            </a:xfrm>
            <a:custGeom>
              <a:avLst/>
              <a:gdLst/>
              <a:ahLst/>
              <a:cxnLst/>
              <a:rect l="l" t="t" r="r" b="b"/>
              <a:pathLst>
                <a:path w="74" h="154" extrusionOk="0">
                  <a:moveTo>
                    <a:pt x="70" y="60"/>
                  </a:moveTo>
                  <a:cubicBezTo>
                    <a:pt x="74" y="37"/>
                    <a:pt x="72" y="14"/>
                    <a:pt x="46" y="6"/>
                  </a:cubicBezTo>
                  <a:cubicBezTo>
                    <a:pt x="23" y="0"/>
                    <a:pt x="4" y="16"/>
                    <a:pt x="2" y="39"/>
                  </a:cubicBezTo>
                  <a:cubicBezTo>
                    <a:pt x="0" y="63"/>
                    <a:pt x="13" y="80"/>
                    <a:pt x="8" y="104"/>
                  </a:cubicBezTo>
                  <a:cubicBezTo>
                    <a:pt x="4" y="125"/>
                    <a:pt x="8" y="154"/>
                    <a:pt x="37" y="142"/>
                  </a:cubicBezTo>
                  <a:cubicBezTo>
                    <a:pt x="59" y="133"/>
                    <a:pt x="67" y="103"/>
                    <a:pt x="70" y="82"/>
                  </a:cubicBezTo>
                  <a:cubicBezTo>
                    <a:pt x="70" y="60"/>
                    <a:pt x="70" y="60"/>
                    <a:pt x="70" y="60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5" name="Google Shape;256;p3">
              <a:extLst>
                <a:ext uri="{FF2B5EF4-FFF2-40B4-BE49-F238E27FC236}">
                  <a16:creationId xmlns:a16="http://schemas.microsoft.com/office/drawing/2014/main" id="{49F059DF-E0B4-8AC1-CC7E-999E4EF631FE}"/>
                </a:ext>
              </a:extLst>
            </p:cNvPr>
            <p:cNvSpPr/>
            <p:nvPr/>
          </p:nvSpPr>
          <p:spPr>
            <a:xfrm>
              <a:off x="4362451" y="2130426"/>
              <a:ext cx="1063625" cy="814388"/>
            </a:xfrm>
            <a:custGeom>
              <a:avLst/>
              <a:gdLst/>
              <a:ahLst/>
              <a:cxnLst/>
              <a:rect l="l" t="t" r="r" b="b"/>
              <a:pathLst>
                <a:path w="631" h="484" extrusionOk="0">
                  <a:moveTo>
                    <a:pt x="36" y="6"/>
                  </a:moveTo>
                  <a:cubicBezTo>
                    <a:pt x="31" y="84"/>
                    <a:pt x="24" y="166"/>
                    <a:pt x="50" y="241"/>
                  </a:cubicBezTo>
                  <a:cubicBezTo>
                    <a:pt x="74" y="311"/>
                    <a:pt x="128" y="364"/>
                    <a:pt x="197" y="392"/>
                  </a:cubicBezTo>
                  <a:cubicBezTo>
                    <a:pt x="270" y="422"/>
                    <a:pt x="354" y="425"/>
                    <a:pt x="429" y="402"/>
                  </a:cubicBezTo>
                  <a:cubicBezTo>
                    <a:pt x="499" y="381"/>
                    <a:pt x="558" y="334"/>
                    <a:pt x="587" y="266"/>
                  </a:cubicBezTo>
                  <a:cubicBezTo>
                    <a:pt x="617" y="195"/>
                    <a:pt x="614" y="114"/>
                    <a:pt x="609" y="38"/>
                  </a:cubicBezTo>
                  <a:cubicBezTo>
                    <a:pt x="608" y="28"/>
                    <a:pt x="608" y="18"/>
                    <a:pt x="607" y="8"/>
                  </a:cubicBezTo>
                  <a:cubicBezTo>
                    <a:pt x="618" y="94"/>
                    <a:pt x="631" y="185"/>
                    <a:pt x="606" y="271"/>
                  </a:cubicBezTo>
                  <a:cubicBezTo>
                    <a:pt x="583" y="351"/>
                    <a:pt x="525" y="414"/>
                    <a:pt x="449" y="446"/>
                  </a:cubicBezTo>
                  <a:cubicBezTo>
                    <a:pt x="370" y="481"/>
                    <a:pt x="276" y="484"/>
                    <a:pt x="194" y="454"/>
                  </a:cubicBezTo>
                  <a:cubicBezTo>
                    <a:pt x="117" y="426"/>
                    <a:pt x="56" y="368"/>
                    <a:pt x="29" y="290"/>
                  </a:cubicBezTo>
                  <a:cubicBezTo>
                    <a:pt x="0" y="208"/>
                    <a:pt x="9" y="118"/>
                    <a:pt x="20" y="33"/>
                  </a:cubicBezTo>
                  <a:cubicBezTo>
                    <a:pt x="21" y="22"/>
                    <a:pt x="22" y="11"/>
                    <a:pt x="24" y="0"/>
                  </a:cubicBezTo>
                  <a:cubicBezTo>
                    <a:pt x="36" y="6"/>
                    <a:pt x="36" y="6"/>
                    <a:pt x="36" y="6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6" name="Google Shape;257;p3">
              <a:extLst>
                <a:ext uri="{FF2B5EF4-FFF2-40B4-BE49-F238E27FC236}">
                  <a16:creationId xmlns:a16="http://schemas.microsoft.com/office/drawing/2014/main" id="{26C770D4-A799-54D3-7B0B-DA38CC9EEE20}"/>
                </a:ext>
              </a:extLst>
            </p:cNvPr>
            <p:cNvSpPr/>
            <p:nvPr/>
          </p:nvSpPr>
          <p:spPr>
            <a:xfrm>
              <a:off x="4816476" y="2027239"/>
              <a:ext cx="252413" cy="247650"/>
            </a:xfrm>
            <a:custGeom>
              <a:avLst/>
              <a:gdLst/>
              <a:ahLst/>
              <a:cxnLst/>
              <a:rect l="l" t="t" r="r" b="b"/>
              <a:pathLst>
                <a:path w="150" h="148" extrusionOk="0">
                  <a:moveTo>
                    <a:pt x="150" y="107"/>
                  </a:moveTo>
                  <a:cubicBezTo>
                    <a:pt x="124" y="116"/>
                    <a:pt x="93" y="114"/>
                    <a:pt x="67" y="108"/>
                  </a:cubicBezTo>
                  <a:cubicBezTo>
                    <a:pt x="56" y="106"/>
                    <a:pt x="38" y="100"/>
                    <a:pt x="32" y="92"/>
                  </a:cubicBezTo>
                  <a:cubicBezTo>
                    <a:pt x="22" y="80"/>
                    <a:pt x="29" y="64"/>
                    <a:pt x="31" y="51"/>
                  </a:cubicBezTo>
                  <a:cubicBezTo>
                    <a:pt x="32" y="34"/>
                    <a:pt x="33" y="17"/>
                    <a:pt x="34" y="0"/>
                  </a:cubicBezTo>
                  <a:cubicBezTo>
                    <a:pt x="30" y="20"/>
                    <a:pt x="25" y="39"/>
                    <a:pt x="20" y="58"/>
                  </a:cubicBezTo>
                  <a:cubicBezTo>
                    <a:pt x="15" y="73"/>
                    <a:pt x="4" y="90"/>
                    <a:pt x="3" y="106"/>
                  </a:cubicBezTo>
                  <a:cubicBezTo>
                    <a:pt x="0" y="148"/>
                    <a:pt x="65" y="144"/>
                    <a:pt x="92" y="138"/>
                  </a:cubicBezTo>
                  <a:cubicBezTo>
                    <a:pt x="110" y="134"/>
                    <a:pt x="127" y="127"/>
                    <a:pt x="144" y="119"/>
                  </a:cubicBezTo>
                  <a:cubicBezTo>
                    <a:pt x="150" y="107"/>
                    <a:pt x="150" y="107"/>
                    <a:pt x="150" y="107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7" name="Google Shape;258;p3">
              <a:extLst>
                <a:ext uri="{FF2B5EF4-FFF2-40B4-BE49-F238E27FC236}">
                  <a16:creationId xmlns:a16="http://schemas.microsoft.com/office/drawing/2014/main" id="{B897101E-AC6C-AC3A-8DC2-DBC63CF5D018}"/>
                </a:ext>
              </a:extLst>
            </p:cNvPr>
            <p:cNvSpPr/>
            <p:nvPr/>
          </p:nvSpPr>
          <p:spPr>
            <a:xfrm>
              <a:off x="4364038" y="1504951"/>
              <a:ext cx="828675" cy="620713"/>
            </a:xfrm>
            <a:custGeom>
              <a:avLst/>
              <a:gdLst/>
              <a:ahLst/>
              <a:cxnLst/>
              <a:rect l="l" t="t" r="r" b="b"/>
              <a:pathLst>
                <a:path w="492" h="369" extrusionOk="0">
                  <a:moveTo>
                    <a:pt x="489" y="31"/>
                  </a:moveTo>
                  <a:cubicBezTo>
                    <a:pt x="442" y="53"/>
                    <a:pt x="395" y="61"/>
                    <a:pt x="343" y="56"/>
                  </a:cubicBezTo>
                  <a:cubicBezTo>
                    <a:pt x="288" y="50"/>
                    <a:pt x="243" y="16"/>
                    <a:pt x="190" y="8"/>
                  </a:cubicBezTo>
                  <a:cubicBezTo>
                    <a:pt x="139" y="0"/>
                    <a:pt x="92" y="24"/>
                    <a:pt x="64" y="66"/>
                  </a:cubicBezTo>
                  <a:cubicBezTo>
                    <a:pt x="36" y="109"/>
                    <a:pt x="27" y="157"/>
                    <a:pt x="24" y="207"/>
                  </a:cubicBezTo>
                  <a:cubicBezTo>
                    <a:pt x="21" y="253"/>
                    <a:pt x="0" y="320"/>
                    <a:pt x="35" y="358"/>
                  </a:cubicBezTo>
                  <a:cubicBezTo>
                    <a:pt x="38" y="362"/>
                    <a:pt x="42" y="365"/>
                    <a:pt x="45" y="369"/>
                  </a:cubicBezTo>
                  <a:cubicBezTo>
                    <a:pt x="49" y="320"/>
                    <a:pt x="50" y="271"/>
                    <a:pt x="54" y="222"/>
                  </a:cubicBezTo>
                  <a:cubicBezTo>
                    <a:pt x="57" y="177"/>
                    <a:pt x="65" y="126"/>
                    <a:pt x="99" y="93"/>
                  </a:cubicBezTo>
                  <a:cubicBezTo>
                    <a:pt x="169" y="27"/>
                    <a:pt x="279" y="99"/>
                    <a:pt x="362" y="87"/>
                  </a:cubicBezTo>
                  <a:cubicBezTo>
                    <a:pt x="410" y="80"/>
                    <a:pt x="452" y="56"/>
                    <a:pt x="492" y="31"/>
                  </a:cubicBezTo>
                  <a:cubicBezTo>
                    <a:pt x="489" y="31"/>
                    <a:pt x="489" y="31"/>
                    <a:pt x="489" y="31"/>
                  </a:cubicBezTo>
                  <a:close/>
                </a:path>
              </a:pathLst>
            </a:custGeom>
            <a:solidFill>
              <a:srgbClr val="6F4E39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8" name="Google Shape;259;p3">
              <a:extLst>
                <a:ext uri="{FF2B5EF4-FFF2-40B4-BE49-F238E27FC236}">
                  <a16:creationId xmlns:a16="http://schemas.microsoft.com/office/drawing/2014/main" id="{42954E21-6E6F-363C-C9D8-788F76DBC3BA}"/>
                </a:ext>
              </a:extLst>
            </p:cNvPr>
            <p:cNvSpPr/>
            <p:nvPr/>
          </p:nvSpPr>
          <p:spPr>
            <a:xfrm>
              <a:off x="5260976" y="1492251"/>
              <a:ext cx="185738" cy="598488"/>
            </a:xfrm>
            <a:custGeom>
              <a:avLst/>
              <a:gdLst/>
              <a:ahLst/>
              <a:cxnLst/>
              <a:rect l="l" t="t" r="r" b="b"/>
              <a:pathLst>
                <a:path w="111" h="356" extrusionOk="0">
                  <a:moveTo>
                    <a:pt x="0" y="9"/>
                  </a:moveTo>
                  <a:cubicBezTo>
                    <a:pt x="43" y="31"/>
                    <a:pt x="73" y="59"/>
                    <a:pt x="79" y="111"/>
                  </a:cubicBezTo>
                  <a:cubicBezTo>
                    <a:pt x="84" y="161"/>
                    <a:pt x="86" y="218"/>
                    <a:pt x="81" y="268"/>
                  </a:cubicBezTo>
                  <a:cubicBezTo>
                    <a:pt x="79" y="297"/>
                    <a:pt x="76" y="326"/>
                    <a:pt x="77" y="356"/>
                  </a:cubicBezTo>
                  <a:cubicBezTo>
                    <a:pt x="103" y="339"/>
                    <a:pt x="95" y="309"/>
                    <a:pt x="96" y="283"/>
                  </a:cubicBezTo>
                  <a:cubicBezTo>
                    <a:pt x="98" y="254"/>
                    <a:pt x="104" y="227"/>
                    <a:pt x="106" y="199"/>
                  </a:cubicBezTo>
                  <a:cubicBezTo>
                    <a:pt x="111" y="152"/>
                    <a:pt x="106" y="74"/>
                    <a:pt x="75" y="36"/>
                  </a:cubicBezTo>
                  <a:cubicBezTo>
                    <a:pt x="56" y="13"/>
                    <a:pt x="33" y="0"/>
                    <a:pt x="3" y="6"/>
                  </a:cubicBezTo>
                  <a:cubicBezTo>
                    <a:pt x="0" y="9"/>
                    <a:pt x="0" y="9"/>
                    <a:pt x="0" y="9"/>
                  </a:cubicBezTo>
                  <a:close/>
                </a:path>
              </a:pathLst>
            </a:custGeom>
            <a:solidFill>
              <a:srgbClr val="6F4E39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19" name="Google Shape;260;p3">
              <a:extLst>
                <a:ext uri="{FF2B5EF4-FFF2-40B4-BE49-F238E27FC236}">
                  <a16:creationId xmlns:a16="http://schemas.microsoft.com/office/drawing/2014/main" id="{BFCCC313-7A3A-4F28-C73C-DE39E9D84168}"/>
                </a:ext>
              </a:extLst>
            </p:cNvPr>
            <p:cNvSpPr/>
            <p:nvPr/>
          </p:nvSpPr>
          <p:spPr>
            <a:xfrm>
              <a:off x="4429126" y="1358901"/>
              <a:ext cx="823913" cy="239713"/>
            </a:xfrm>
            <a:custGeom>
              <a:avLst/>
              <a:gdLst/>
              <a:ahLst/>
              <a:cxnLst/>
              <a:rect l="l" t="t" r="r" b="b"/>
              <a:pathLst>
                <a:path w="490" h="142" extrusionOk="0">
                  <a:moveTo>
                    <a:pt x="108" y="47"/>
                  </a:moveTo>
                  <a:cubicBezTo>
                    <a:pt x="159" y="14"/>
                    <a:pt x="223" y="4"/>
                    <a:pt x="283" y="2"/>
                  </a:cubicBezTo>
                  <a:cubicBezTo>
                    <a:pt x="340" y="0"/>
                    <a:pt x="390" y="10"/>
                    <a:pt x="441" y="38"/>
                  </a:cubicBezTo>
                  <a:cubicBezTo>
                    <a:pt x="468" y="52"/>
                    <a:pt x="490" y="69"/>
                    <a:pt x="474" y="101"/>
                  </a:cubicBezTo>
                  <a:cubicBezTo>
                    <a:pt x="430" y="44"/>
                    <a:pt x="366" y="30"/>
                    <a:pt x="295" y="32"/>
                  </a:cubicBezTo>
                  <a:cubicBezTo>
                    <a:pt x="225" y="35"/>
                    <a:pt x="153" y="50"/>
                    <a:pt x="86" y="73"/>
                  </a:cubicBezTo>
                  <a:cubicBezTo>
                    <a:pt x="50" y="85"/>
                    <a:pt x="26" y="115"/>
                    <a:pt x="0" y="142"/>
                  </a:cubicBezTo>
                  <a:cubicBezTo>
                    <a:pt x="108" y="47"/>
                    <a:pt x="108" y="47"/>
                    <a:pt x="108" y="47"/>
                  </a:cubicBezTo>
                  <a:close/>
                </a:path>
              </a:pathLst>
            </a:custGeom>
            <a:solidFill>
              <a:srgbClr val="6F4E39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" name="Google Shape;261;p3">
              <a:extLst>
                <a:ext uri="{FF2B5EF4-FFF2-40B4-BE49-F238E27FC236}">
                  <a16:creationId xmlns:a16="http://schemas.microsoft.com/office/drawing/2014/main" id="{1AF5DD7B-D43E-9766-7E05-7C596FBB8644}"/>
                </a:ext>
              </a:extLst>
            </p:cNvPr>
            <p:cNvSpPr/>
            <p:nvPr/>
          </p:nvSpPr>
          <p:spPr>
            <a:xfrm>
              <a:off x="4672013" y="3209926"/>
              <a:ext cx="273050" cy="455613"/>
            </a:xfrm>
            <a:custGeom>
              <a:avLst/>
              <a:gdLst/>
              <a:ahLst/>
              <a:cxnLst/>
              <a:rect l="l" t="t" r="r" b="b"/>
              <a:pathLst>
                <a:path w="162" h="271" extrusionOk="0">
                  <a:moveTo>
                    <a:pt x="67" y="271"/>
                  </a:moveTo>
                  <a:cubicBezTo>
                    <a:pt x="74" y="225"/>
                    <a:pt x="88" y="178"/>
                    <a:pt x="99" y="137"/>
                  </a:cubicBezTo>
                  <a:cubicBezTo>
                    <a:pt x="102" y="122"/>
                    <a:pt x="100" y="109"/>
                    <a:pt x="90" y="97"/>
                  </a:cubicBezTo>
                  <a:cubicBezTo>
                    <a:pt x="84" y="108"/>
                    <a:pt x="75" y="122"/>
                    <a:pt x="67" y="130"/>
                  </a:cubicBezTo>
                  <a:cubicBezTo>
                    <a:pt x="50" y="113"/>
                    <a:pt x="35" y="93"/>
                    <a:pt x="25" y="71"/>
                  </a:cubicBezTo>
                  <a:cubicBezTo>
                    <a:pt x="16" y="49"/>
                    <a:pt x="12" y="19"/>
                    <a:pt x="0" y="0"/>
                  </a:cubicBezTo>
                  <a:cubicBezTo>
                    <a:pt x="29" y="23"/>
                    <a:pt x="39" y="62"/>
                    <a:pt x="66" y="87"/>
                  </a:cubicBezTo>
                  <a:cubicBezTo>
                    <a:pt x="70" y="58"/>
                    <a:pt x="76" y="29"/>
                    <a:pt x="86" y="2"/>
                  </a:cubicBezTo>
                  <a:cubicBezTo>
                    <a:pt x="116" y="36"/>
                    <a:pt x="123" y="92"/>
                    <a:pt x="162" y="120"/>
                  </a:cubicBezTo>
                  <a:cubicBezTo>
                    <a:pt x="159" y="135"/>
                    <a:pt x="148" y="151"/>
                    <a:pt x="142" y="166"/>
                  </a:cubicBezTo>
                  <a:cubicBezTo>
                    <a:pt x="135" y="182"/>
                    <a:pt x="130" y="200"/>
                    <a:pt x="125" y="217"/>
                  </a:cubicBezTo>
                  <a:cubicBezTo>
                    <a:pt x="119" y="235"/>
                    <a:pt x="115" y="253"/>
                    <a:pt x="112" y="271"/>
                  </a:cubicBezTo>
                  <a:cubicBezTo>
                    <a:pt x="67" y="271"/>
                    <a:pt x="67" y="271"/>
                    <a:pt x="67" y="271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" name="Google Shape;262;p3">
              <a:extLst>
                <a:ext uri="{FF2B5EF4-FFF2-40B4-BE49-F238E27FC236}">
                  <a16:creationId xmlns:a16="http://schemas.microsoft.com/office/drawing/2014/main" id="{ECBF7CF9-D800-7DDA-1B7D-45055E4C4F24}"/>
                </a:ext>
              </a:extLst>
            </p:cNvPr>
            <p:cNvSpPr/>
            <p:nvPr/>
          </p:nvSpPr>
          <p:spPr>
            <a:xfrm>
              <a:off x="5048251" y="3157539"/>
              <a:ext cx="223838" cy="508000"/>
            </a:xfrm>
            <a:custGeom>
              <a:avLst/>
              <a:gdLst/>
              <a:ahLst/>
              <a:cxnLst/>
              <a:rect l="l" t="t" r="r" b="b"/>
              <a:pathLst>
                <a:path w="133" h="302" extrusionOk="0">
                  <a:moveTo>
                    <a:pt x="82" y="302"/>
                  </a:moveTo>
                  <a:cubicBezTo>
                    <a:pt x="76" y="274"/>
                    <a:pt x="68" y="246"/>
                    <a:pt x="56" y="218"/>
                  </a:cubicBezTo>
                  <a:cubicBezTo>
                    <a:pt x="46" y="197"/>
                    <a:pt x="35" y="177"/>
                    <a:pt x="22" y="157"/>
                  </a:cubicBezTo>
                  <a:cubicBezTo>
                    <a:pt x="6" y="133"/>
                    <a:pt x="0" y="122"/>
                    <a:pt x="17" y="96"/>
                  </a:cubicBezTo>
                  <a:cubicBezTo>
                    <a:pt x="31" y="73"/>
                    <a:pt x="46" y="54"/>
                    <a:pt x="51" y="27"/>
                  </a:cubicBezTo>
                  <a:cubicBezTo>
                    <a:pt x="74" y="48"/>
                    <a:pt x="81" y="93"/>
                    <a:pt x="87" y="120"/>
                  </a:cubicBezTo>
                  <a:cubicBezTo>
                    <a:pt x="113" y="93"/>
                    <a:pt x="125" y="36"/>
                    <a:pt x="126" y="0"/>
                  </a:cubicBezTo>
                  <a:cubicBezTo>
                    <a:pt x="133" y="18"/>
                    <a:pt x="128" y="51"/>
                    <a:pt x="127" y="72"/>
                  </a:cubicBezTo>
                  <a:cubicBezTo>
                    <a:pt x="126" y="98"/>
                    <a:pt x="126" y="125"/>
                    <a:pt x="126" y="151"/>
                  </a:cubicBezTo>
                  <a:cubicBezTo>
                    <a:pt x="126" y="202"/>
                    <a:pt x="124" y="251"/>
                    <a:pt x="124" y="302"/>
                  </a:cubicBezTo>
                  <a:cubicBezTo>
                    <a:pt x="82" y="302"/>
                    <a:pt x="82" y="302"/>
                    <a:pt x="82" y="302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2" name="Google Shape;263;p3">
              <a:extLst>
                <a:ext uri="{FF2B5EF4-FFF2-40B4-BE49-F238E27FC236}">
                  <a16:creationId xmlns:a16="http://schemas.microsoft.com/office/drawing/2014/main" id="{4FEFC1E4-0CAB-7841-F22B-072EAA7C6080}"/>
                </a:ext>
              </a:extLst>
            </p:cNvPr>
            <p:cNvSpPr/>
            <p:nvPr/>
          </p:nvSpPr>
          <p:spPr>
            <a:xfrm>
              <a:off x="4300538" y="3371851"/>
              <a:ext cx="111125" cy="293688"/>
            </a:xfrm>
            <a:custGeom>
              <a:avLst/>
              <a:gdLst/>
              <a:ahLst/>
              <a:cxnLst/>
              <a:rect l="l" t="t" r="r" b="b"/>
              <a:pathLst>
                <a:path w="66" h="175" extrusionOk="0">
                  <a:moveTo>
                    <a:pt x="4" y="175"/>
                  </a:moveTo>
                  <a:cubicBezTo>
                    <a:pt x="66" y="175"/>
                    <a:pt x="66" y="175"/>
                    <a:pt x="66" y="175"/>
                  </a:cubicBezTo>
                  <a:cubicBezTo>
                    <a:pt x="65" y="163"/>
                    <a:pt x="64" y="151"/>
                    <a:pt x="63" y="139"/>
                  </a:cubicBezTo>
                  <a:cubicBezTo>
                    <a:pt x="60" y="116"/>
                    <a:pt x="57" y="94"/>
                    <a:pt x="53" y="71"/>
                  </a:cubicBezTo>
                  <a:cubicBezTo>
                    <a:pt x="51" y="58"/>
                    <a:pt x="49" y="31"/>
                    <a:pt x="39" y="20"/>
                  </a:cubicBezTo>
                  <a:cubicBezTo>
                    <a:pt x="19" y="0"/>
                    <a:pt x="8" y="50"/>
                    <a:pt x="5" y="64"/>
                  </a:cubicBezTo>
                  <a:cubicBezTo>
                    <a:pt x="0" y="89"/>
                    <a:pt x="6" y="112"/>
                    <a:pt x="6" y="137"/>
                  </a:cubicBezTo>
                  <a:cubicBezTo>
                    <a:pt x="6" y="150"/>
                    <a:pt x="5" y="162"/>
                    <a:pt x="4" y="175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3" name="Google Shape;264;p3">
              <a:extLst>
                <a:ext uri="{FF2B5EF4-FFF2-40B4-BE49-F238E27FC236}">
                  <a16:creationId xmlns:a16="http://schemas.microsoft.com/office/drawing/2014/main" id="{5931C601-050F-1963-11EB-5A76048D97D0}"/>
                </a:ext>
              </a:extLst>
            </p:cNvPr>
            <p:cNvSpPr/>
            <p:nvPr/>
          </p:nvSpPr>
          <p:spPr>
            <a:xfrm>
              <a:off x="5514976" y="3348039"/>
              <a:ext cx="147638" cy="317500"/>
            </a:xfrm>
            <a:custGeom>
              <a:avLst/>
              <a:gdLst/>
              <a:ahLst/>
              <a:cxnLst/>
              <a:rect l="l" t="t" r="r" b="b"/>
              <a:pathLst>
                <a:path w="88" h="189" extrusionOk="0">
                  <a:moveTo>
                    <a:pt x="26" y="189"/>
                  </a:moveTo>
                  <a:cubicBezTo>
                    <a:pt x="88" y="189"/>
                    <a:pt x="88" y="189"/>
                    <a:pt x="88" y="189"/>
                  </a:cubicBezTo>
                  <a:cubicBezTo>
                    <a:pt x="87" y="181"/>
                    <a:pt x="87" y="173"/>
                    <a:pt x="86" y="166"/>
                  </a:cubicBezTo>
                  <a:cubicBezTo>
                    <a:pt x="83" y="146"/>
                    <a:pt x="76" y="127"/>
                    <a:pt x="72" y="107"/>
                  </a:cubicBezTo>
                  <a:cubicBezTo>
                    <a:pt x="66" y="84"/>
                    <a:pt x="67" y="61"/>
                    <a:pt x="64" y="38"/>
                  </a:cubicBezTo>
                  <a:cubicBezTo>
                    <a:pt x="62" y="28"/>
                    <a:pt x="60" y="0"/>
                    <a:pt x="44" y="5"/>
                  </a:cubicBezTo>
                  <a:cubicBezTo>
                    <a:pt x="34" y="9"/>
                    <a:pt x="30" y="35"/>
                    <a:pt x="27" y="44"/>
                  </a:cubicBezTo>
                  <a:cubicBezTo>
                    <a:pt x="16" y="79"/>
                    <a:pt x="0" y="112"/>
                    <a:pt x="16" y="147"/>
                  </a:cubicBezTo>
                  <a:cubicBezTo>
                    <a:pt x="22" y="160"/>
                    <a:pt x="25" y="174"/>
                    <a:pt x="26" y="189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5" name="Google Shape;265;p3">
              <a:extLst>
                <a:ext uri="{FF2B5EF4-FFF2-40B4-BE49-F238E27FC236}">
                  <a16:creationId xmlns:a16="http://schemas.microsoft.com/office/drawing/2014/main" id="{B58E5E35-4C7C-1A9D-971A-0D91FCF50669}"/>
                </a:ext>
              </a:extLst>
            </p:cNvPr>
            <p:cNvSpPr/>
            <p:nvPr/>
          </p:nvSpPr>
          <p:spPr>
            <a:xfrm>
              <a:off x="5719763" y="3411539"/>
              <a:ext cx="93663" cy="254000"/>
            </a:xfrm>
            <a:custGeom>
              <a:avLst/>
              <a:gdLst/>
              <a:ahLst/>
              <a:cxnLst/>
              <a:rect l="l" t="t" r="r" b="b"/>
              <a:pathLst>
                <a:path w="55" h="151" extrusionOk="0">
                  <a:moveTo>
                    <a:pt x="29" y="151"/>
                  </a:moveTo>
                  <a:cubicBezTo>
                    <a:pt x="27" y="131"/>
                    <a:pt x="24" y="112"/>
                    <a:pt x="21" y="93"/>
                  </a:cubicBezTo>
                  <a:cubicBezTo>
                    <a:pt x="18" y="74"/>
                    <a:pt x="13" y="56"/>
                    <a:pt x="10" y="38"/>
                  </a:cubicBezTo>
                  <a:cubicBezTo>
                    <a:pt x="8" y="27"/>
                    <a:pt x="0" y="8"/>
                    <a:pt x="6" y="0"/>
                  </a:cubicBezTo>
                  <a:cubicBezTo>
                    <a:pt x="29" y="33"/>
                    <a:pt x="38" y="84"/>
                    <a:pt x="49" y="123"/>
                  </a:cubicBezTo>
                  <a:cubicBezTo>
                    <a:pt x="51" y="132"/>
                    <a:pt x="53" y="141"/>
                    <a:pt x="55" y="151"/>
                  </a:cubicBezTo>
                  <a:cubicBezTo>
                    <a:pt x="29" y="151"/>
                    <a:pt x="29" y="151"/>
                    <a:pt x="29" y="151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0" name="Google Shape;266;p3">
              <a:extLst>
                <a:ext uri="{FF2B5EF4-FFF2-40B4-BE49-F238E27FC236}">
                  <a16:creationId xmlns:a16="http://schemas.microsoft.com/office/drawing/2014/main" id="{68ECDF29-59DE-0754-2F37-29B9E2514A68}"/>
                </a:ext>
              </a:extLst>
            </p:cNvPr>
            <p:cNvSpPr/>
            <p:nvPr/>
          </p:nvSpPr>
          <p:spPr>
            <a:xfrm>
              <a:off x="4984751" y="3367089"/>
              <a:ext cx="211138" cy="298450"/>
            </a:xfrm>
            <a:custGeom>
              <a:avLst/>
              <a:gdLst/>
              <a:ahLst/>
              <a:cxnLst/>
              <a:rect l="l" t="t" r="r" b="b"/>
              <a:pathLst>
                <a:path w="126" h="178" extrusionOk="0">
                  <a:moveTo>
                    <a:pt x="126" y="178"/>
                  </a:moveTo>
                  <a:cubicBezTo>
                    <a:pt x="122" y="161"/>
                    <a:pt x="117" y="144"/>
                    <a:pt x="111" y="127"/>
                  </a:cubicBezTo>
                  <a:cubicBezTo>
                    <a:pt x="97" y="90"/>
                    <a:pt x="84" y="42"/>
                    <a:pt x="54" y="15"/>
                  </a:cubicBezTo>
                  <a:cubicBezTo>
                    <a:pt x="37" y="0"/>
                    <a:pt x="22" y="17"/>
                    <a:pt x="2" y="21"/>
                  </a:cubicBezTo>
                  <a:cubicBezTo>
                    <a:pt x="0" y="39"/>
                    <a:pt x="23" y="74"/>
                    <a:pt x="32" y="89"/>
                  </a:cubicBezTo>
                  <a:cubicBezTo>
                    <a:pt x="36" y="96"/>
                    <a:pt x="44" y="113"/>
                    <a:pt x="54" y="111"/>
                  </a:cubicBezTo>
                  <a:cubicBezTo>
                    <a:pt x="66" y="110"/>
                    <a:pt x="65" y="88"/>
                    <a:pt x="62" y="80"/>
                  </a:cubicBezTo>
                  <a:cubicBezTo>
                    <a:pt x="78" y="81"/>
                    <a:pt x="86" y="135"/>
                    <a:pt x="91" y="178"/>
                  </a:cubicBezTo>
                  <a:cubicBezTo>
                    <a:pt x="126" y="178"/>
                    <a:pt x="126" y="178"/>
                    <a:pt x="126" y="178"/>
                  </a:cubicBezTo>
                  <a:close/>
                </a:path>
              </a:pathLst>
            </a:custGeom>
            <a:solidFill>
              <a:srgbClr val="409DAD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1" name="Google Shape;267;p3">
              <a:extLst>
                <a:ext uri="{FF2B5EF4-FFF2-40B4-BE49-F238E27FC236}">
                  <a16:creationId xmlns:a16="http://schemas.microsoft.com/office/drawing/2014/main" id="{851276CD-F2E9-FB05-689E-BBF266FD901F}"/>
                </a:ext>
              </a:extLst>
            </p:cNvPr>
            <p:cNvSpPr/>
            <p:nvPr/>
          </p:nvSpPr>
          <p:spPr>
            <a:xfrm>
              <a:off x="4849813" y="3408364"/>
              <a:ext cx="109538" cy="257175"/>
            </a:xfrm>
            <a:custGeom>
              <a:avLst/>
              <a:gdLst/>
              <a:ahLst/>
              <a:cxnLst/>
              <a:rect l="l" t="t" r="r" b="b"/>
              <a:pathLst>
                <a:path w="65" h="153" extrusionOk="0">
                  <a:moveTo>
                    <a:pt x="39" y="153"/>
                  </a:moveTo>
                  <a:cubicBezTo>
                    <a:pt x="40" y="100"/>
                    <a:pt x="42" y="45"/>
                    <a:pt x="65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15"/>
                    <a:pt x="42" y="32"/>
                    <a:pt x="35" y="47"/>
                  </a:cubicBezTo>
                  <a:cubicBezTo>
                    <a:pt x="21" y="82"/>
                    <a:pt x="6" y="114"/>
                    <a:pt x="0" y="152"/>
                  </a:cubicBezTo>
                  <a:cubicBezTo>
                    <a:pt x="0" y="152"/>
                    <a:pt x="0" y="152"/>
                    <a:pt x="0" y="153"/>
                  </a:cubicBezTo>
                  <a:cubicBezTo>
                    <a:pt x="39" y="153"/>
                    <a:pt x="39" y="153"/>
                    <a:pt x="39" y="153"/>
                  </a:cubicBezTo>
                  <a:close/>
                </a:path>
              </a:pathLst>
            </a:custGeom>
            <a:solidFill>
              <a:srgbClr val="409DAD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2" name="Google Shape;268;p3">
              <a:extLst>
                <a:ext uri="{FF2B5EF4-FFF2-40B4-BE49-F238E27FC236}">
                  <a16:creationId xmlns:a16="http://schemas.microsoft.com/office/drawing/2014/main" id="{FE87BD3C-704E-9025-BEBE-DA19AC161BD9}"/>
                </a:ext>
              </a:extLst>
            </p:cNvPr>
            <p:cNvSpPr/>
            <p:nvPr/>
          </p:nvSpPr>
          <p:spPr>
            <a:xfrm>
              <a:off x="4810126" y="3076576"/>
              <a:ext cx="330200" cy="330200"/>
            </a:xfrm>
            <a:custGeom>
              <a:avLst/>
              <a:gdLst/>
              <a:ahLst/>
              <a:cxnLst/>
              <a:rect l="l" t="t" r="r" b="b"/>
              <a:pathLst>
                <a:path w="196" h="196" extrusionOk="0">
                  <a:moveTo>
                    <a:pt x="187" y="63"/>
                  </a:moveTo>
                  <a:cubicBezTo>
                    <a:pt x="182" y="47"/>
                    <a:pt x="155" y="0"/>
                    <a:pt x="133" y="17"/>
                  </a:cubicBezTo>
                  <a:cubicBezTo>
                    <a:pt x="163" y="48"/>
                    <a:pt x="161" y="95"/>
                    <a:pt x="156" y="136"/>
                  </a:cubicBezTo>
                  <a:cubicBezTo>
                    <a:pt x="150" y="141"/>
                    <a:pt x="145" y="145"/>
                    <a:pt x="139" y="149"/>
                  </a:cubicBezTo>
                  <a:cubicBezTo>
                    <a:pt x="105" y="169"/>
                    <a:pt x="73" y="165"/>
                    <a:pt x="55" y="131"/>
                  </a:cubicBezTo>
                  <a:cubicBezTo>
                    <a:pt x="38" y="98"/>
                    <a:pt x="25" y="66"/>
                    <a:pt x="27" y="29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8" y="55"/>
                    <a:pt x="0" y="78"/>
                    <a:pt x="8" y="101"/>
                  </a:cubicBezTo>
                  <a:cubicBezTo>
                    <a:pt x="19" y="130"/>
                    <a:pt x="56" y="182"/>
                    <a:pt x="88" y="188"/>
                  </a:cubicBezTo>
                  <a:cubicBezTo>
                    <a:pt x="126" y="196"/>
                    <a:pt x="162" y="163"/>
                    <a:pt x="173" y="128"/>
                  </a:cubicBezTo>
                  <a:cubicBezTo>
                    <a:pt x="186" y="108"/>
                    <a:pt x="196" y="87"/>
                    <a:pt x="187" y="63"/>
                  </a:cubicBezTo>
                  <a:close/>
                </a:path>
              </a:pathLst>
            </a:custGeom>
            <a:solidFill>
              <a:srgbClr val="409DAD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3" name="Google Shape;269;p3">
              <a:extLst>
                <a:ext uri="{FF2B5EF4-FFF2-40B4-BE49-F238E27FC236}">
                  <a16:creationId xmlns:a16="http://schemas.microsoft.com/office/drawing/2014/main" id="{D7F17575-8152-A589-5648-67419673D154}"/>
                </a:ext>
              </a:extLst>
            </p:cNvPr>
            <p:cNvSpPr/>
            <p:nvPr/>
          </p:nvSpPr>
          <p:spPr>
            <a:xfrm>
              <a:off x="5033963" y="2916239"/>
              <a:ext cx="158750" cy="201613"/>
            </a:xfrm>
            <a:custGeom>
              <a:avLst/>
              <a:gdLst/>
              <a:ahLst/>
              <a:cxnLst/>
              <a:rect l="l" t="t" r="r" b="b"/>
              <a:pathLst>
                <a:path w="94" h="120" extrusionOk="0">
                  <a:moveTo>
                    <a:pt x="0" y="102"/>
                  </a:moveTo>
                  <a:cubicBezTo>
                    <a:pt x="17" y="91"/>
                    <a:pt x="31" y="77"/>
                    <a:pt x="45" y="61"/>
                  </a:cubicBezTo>
                  <a:cubicBezTo>
                    <a:pt x="55" y="50"/>
                    <a:pt x="62" y="19"/>
                    <a:pt x="74" y="12"/>
                  </a:cubicBezTo>
                  <a:cubicBezTo>
                    <a:pt x="94" y="0"/>
                    <a:pt x="84" y="39"/>
                    <a:pt x="80" y="48"/>
                  </a:cubicBezTo>
                  <a:cubicBezTo>
                    <a:pt x="73" y="64"/>
                    <a:pt x="61" y="80"/>
                    <a:pt x="50" y="93"/>
                  </a:cubicBezTo>
                  <a:cubicBezTo>
                    <a:pt x="37" y="109"/>
                    <a:pt x="26" y="120"/>
                    <a:pt x="5" y="108"/>
                  </a:cubicBezTo>
                  <a:cubicBezTo>
                    <a:pt x="0" y="102"/>
                    <a:pt x="0" y="102"/>
                    <a:pt x="0" y="102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4" name="Google Shape;270;p3">
              <a:extLst>
                <a:ext uri="{FF2B5EF4-FFF2-40B4-BE49-F238E27FC236}">
                  <a16:creationId xmlns:a16="http://schemas.microsoft.com/office/drawing/2014/main" id="{FC08CA05-21A0-36A2-A9EF-54AC2A992B29}"/>
                </a:ext>
              </a:extLst>
            </p:cNvPr>
            <p:cNvSpPr/>
            <p:nvPr/>
          </p:nvSpPr>
          <p:spPr>
            <a:xfrm>
              <a:off x="4695826" y="2932114"/>
              <a:ext cx="179388" cy="184150"/>
            </a:xfrm>
            <a:custGeom>
              <a:avLst/>
              <a:gdLst/>
              <a:ahLst/>
              <a:cxnLst/>
              <a:rect l="l" t="t" r="r" b="b"/>
              <a:pathLst>
                <a:path w="106" h="109" extrusionOk="0">
                  <a:moveTo>
                    <a:pt x="0" y="0"/>
                  </a:moveTo>
                  <a:cubicBezTo>
                    <a:pt x="7" y="25"/>
                    <a:pt x="20" y="44"/>
                    <a:pt x="36" y="64"/>
                  </a:cubicBezTo>
                  <a:cubicBezTo>
                    <a:pt x="50" y="81"/>
                    <a:pt x="74" y="92"/>
                    <a:pt x="85" y="109"/>
                  </a:cubicBezTo>
                  <a:cubicBezTo>
                    <a:pt x="92" y="104"/>
                    <a:pt x="99" y="100"/>
                    <a:pt x="106" y="95"/>
                  </a:cubicBezTo>
                  <a:cubicBezTo>
                    <a:pt x="98" y="76"/>
                    <a:pt x="67" y="70"/>
                    <a:pt x="52" y="57"/>
                  </a:cubicBezTo>
                  <a:cubicBezTo>
                    <a:pt x="33" y="42"/>
                    <a:pt x="20" y="23"/>
                    <a:pt x="9" y="3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5" name="Google Shape;271;p3">
              <a:extLst>
                <a:ext uri="{FF2B5EF4-FFF2-40B4-BE49-F238E27FC236}">
                  <a16:creationId xmlns:a16="http://schemas.microsoft.com/office/drawing/2014/main" id="{4A5F1861-9CA6-03C4-7070-5E67588A9C7B}"/>
                </a:ext>
              </a:extLst>
            </p:cNvPr>
            <p:cNvSpPr/>
            <p:nvPr/>
          </p:nvSpPr>
          <p:spPr>
            <a:xfrm>
              <a:off x="4652963" y="1836739"/>
              <a:ext cx="230188" cy="282575"/>
            </a:xfrm>
            <a:custGeom>
              <a:avLst/>
              <a:gdLst/>
              <a:ahLst/>
              <a:cxnLst/>
              <a:rect l="l" t="t" r="r" b="b"/>
              <a:pathLst>
                <a:path w="137" h="168" extrusionOk="0">
                  <a:moveTo>
                    <a:pt x="134" y="55"/>
                  </a:moveTo>
                  <a:cubicBezTo>
                    <a:pt x="110" y="20"/>
                    <a:pt x="28" y="0"/>
                    <a:pt x="13" y="55"/>
                  </a:cubicBezTo>
                  <a:cubicBezTo>
                    <a:pt x="0" y="106"/>
                    <a:pt x="43" y="168"/>
                    <a:pt x="99" y="145"/>
                  </a:cubicBezTo>
                  <a:cubicBezTo>
                    <a:pt x="126" y="133"/>
                    <a:pt x="134" y="107"/>
                    <a:pt x="137" y="80"/>
                  </a:cubicBezTo>
                  <a:cubicBezTo>
                    <a:pt x="134" y="55"/>
                    <a:pt x="134" y="55"/>
                    <a:pt x="134" y="5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6" name="Google Shape;272;p3">
              <a:extLst>
                <a:ext uri="{FF2B5EF4-FFF2-40B4-BE49-F238E27FC236}">
                  <a16:creationId xmlns:a16="http://schemas.microsoft.com/office/drawing/2014/main" id="{7865EB14-A3D5-821B-71D6-84B6ED5FDD91}"/>
                </a:ext>
              </a:extLst>
            </p:cNvPr>
            <p:cNvSpPr/>
            <p:nvPr/>
          </p:nvSpPr>
          <p:spPr>
            <a:xfrm>
              <a:off x="4987926" y="1858964"/>
              <a:ext cx="188913" cy="233363"/>
            </a:xfrm>
            <a:custGeom>
              <a:avLst/>
              <a:gdLst/>
              <a:ahLst/>
              <a:cxnLst/>
              <a:rect l="l" t="t" r="r" b="b"/>
              <a:pathLst>
                <a:path w="112" h="139" extrusionOk="0">
                  <a:moveTo>
                    <a:pt x="102" y="37"/>
                  </a:moveTo>
                  <a:cubicBezTo>
                    <a:pt x="89" y="7"/>
                    <a:pt x="65" y="0"/>
                    <a:pt x="34" y="8"/>
                  </a:cubicBezTo>
                  <a:cubicBezTo>
                    <a:pt x="1" y="17"/>
                    <a:pt x="0" y="43"/>
                    <a:pt x="3" y="73"/>
                  </a:cubicBezTo>
                  <a:cubicBezTo>
                    <a:pt x="5" y="90"/>
                    <a:pt x="9" y="106"/>
                    <a:pt x="14" y="122"/>
                  </a:cubicBezTo>
                  <a:cubicBezTo>
                    <a:pt x="35" y="127"/>
                    <a:pt x="63" y="139"/>
                    <a:pt x="83" y="126"/>
                  </a:cubicBezTo>
                  <a:cubicBezTo>
                    <a:pt x="101" y="114"/>
                    <a:pt x="112" y="87"/>
                    <a:pt x="110" y="6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7" name="Google Shape;273;p3">
              <a:extLst>
                <a:ext uri="{FF2B5EF4-FFF2-40B4-BE49-F238E27FC236}">
                  <a16:creationId xmlns:a16="http://schemas.microsoft.com/office/drawing/2014/main" id="{FA9A11BC-3C41-59F6-A697-54E5DABA9141}"/>
                </a:ext>
              </a:extLst>
            </p:cNvPr>
            <p:cNvSpPr/>
            <p:nvPr/>
          </p:nvSpPr>
          <p:spPr>
            <a:xfrm>
              <a:off x="4659313" y="1766889"/>
              <a:ext cx="230188" cy="225425"/>
            </a:xfrm>
            <a:custGeom>
              <a:avLst/>
              <a:gdLst/>
              <a:ahLst/>
              <a:cxnLst/>
              <a:rect l="l" t="t" r="r" b="b"/>
              <a:pathLst>
                <a:path w="137" h="135" extrusionOk="0">
                  <a:moveTo>
                    <a:pt x="134" y="135"/>
                  </a:moveTo>
                  <a:cubicBezTo>
                    <a:pt x="137" y="99"/>
                    <a:pt x="137" y="45"/>
                    <a:pt x="102" y="23"/>
                  </a:cubicBezTo>
                  <a:cubicBezTo>
                    <a:pt x="64" y="0"/>
                    <a:pt x="23" y="26"/>
                    <a:pt x="9" y="63"/>
                  </a:cubicBezTo>
                  <a:cubicBezTo>
                    <a:pt x="0" y="86"/>
                    <a:pt x="4" y="109"/>
                    <a:pt x="11" y="133"/>
                  </a:cubicBezTo>
                  <a:cubicBezTo>
                    <a:pt x="4" y="104"/>
                    <a:pt x="12" y="75"/>
                    <a:pt x="42" y="66"/>
                  </a:cubicBezTo>
                  <a:cubicBezTo>
                    <a:pt x="65" y="58"/>
                    <a:pt x="98" y="64"/>
                    <a:pt x="115" y="83"/>
                  </a:cubicBezTo>
                  <a:cubicBezTo>
                    <a:pt x="126" y="96"/>
                    <a:pt x="124" y="110"/>
                    <a:pt x="127" y="125"/>
                  </a:cubicBezTo>
                  <a:cubicBezTo>
                    <a:pt x="134" y="135"/>
                    <a:pt x="134" y="135"/>
                    <a:pt x="134" y="135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8" name="Google Shape;274;p3">
              <a:extLst>
                <a:ext uri="{FF2B5EF4-FFF2-40B4-BE49-F238E27FC236}">
                  <a16:creationId xmlns:a16="http://schemas.microsoft.com/office/drawing/2014/main" id="{44A23769-E82D-CAB6-7483-7941445EAA0D}"/>
                </a:ext>
              </a:extLst>
            </p:cNvPr>
            <p:cNvSpPr/>
            <p:nvPr/>
          </p:nvSpPr>
          <p:spPr>
            <a:xfrm>
              <a:off x="4975226" y="1770064"/>
              <a:ext cx="196850" cy="188913"/>
            </a:xfrm>
            <a:custGeom>
              <a:avLst/>
              <a:gdLst/>
              <a:ahLst/>
              <a:cxnLst/>
              <a:rect l="l" t="t" r="r" b="b"/>
              <a:pathLst>
                <a:path w="117" h="113" extrusionOk="0">
                  <a:moveTo>
                    <a:pt x="7" y="113"/>
                  </a:moveTo>
                  <a:cubicBezTo>
                    <a:pt x="4" y="85"/>
                    <a:pt x="0" y="40"/>
                    <a:pt x="27" y="22"/>
                  </a:cubicBezTo>
                  <a:cubicBezTo>
                    <a:pt x="59" y="0"/>
                    <a:pt x="95" y="19"/>
                    <a:pt x="109" y="51"/>
                  </a:cubicBezTo>
                  <a:cubicBezTo>
                    <a:pt x="116" y="69"/>
                    <a:pt x="117" y="88"/>
                    <a:pt x="114" y="108"/>
                  </a:cubicBezTo>
                  <a:cubicBezTo>
                    <a:pt x="111" y="80"/>
                    <a:pt x="94" y="60"/>
                    <a:pt x="65" y="56"/>
                  </a:cubicBezTo>
                  <a:cubicBezTo>
                    <a:pt x="42" y="54"/>
                    <a:pt x="3" y="68"/>
                    <a:pt x="12" y="98"/>
                  </a:cubicBezTo>
                  <a:cubicBezTo>
                    <a:pt x="7" y="113"/>
                    <a:pt x="7" y="113"/>
                    <a:pt x="7" y="113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39" name="Google Shape;275;p3">
              <a:extLst>
                <a:ext uri="{FF2B5EF4-FFF2-40B4-BE49-F238E27FC236}">
                  <a16:creationId xmlns:a16="http://schemas.microsoft.com/office/drawing/2014/main" id="{019ABD83-EC23-E18D-AF45-C5AA6BBF6E78}"/>
                </a:ext>
              </a:extLst>
            </p:cNvPr>
            <p:cNvSpPr/>
            <p:nvPr/>
          </p:nvSpPr>
          <p:spPr>
            <a:xfrm>
              <a:off x="4635501" y="2030414"/>
              <a:ext cx="222250" cy="195263"/>
            </a:xfrm>
            <a:custGeom>
              <a:avLst/>
              <a:gdLst/>
              <a:ahLst/>
              <a:cxnLst/>
              <a:rect l="l" t="t" r="r" b="b"/>
              <a:pathLst>
                <a:path w="132" h="116" extrusionOk="0">
                  <a:moveTo>
                    <a:pt x="7" y="3"/>
                  </a:moveTo>
                  <a:cubicBezTo>
                    <a:pt x="12" y="27"/>
                    <a:pt x="35" y="49"/>
                    <a:pt x="58" y="53"/>
                  </a:cubicBezTo>
                  <a:cubicBezTo>
                    <a:pt x="89" y="58"/>
                    <a:pt x="104" y="50"/>
                    <a:pt x="132" y="41"/>
                  </a:cubicBezTo>
                  <a:cubicBezTo>
                    <a:pt x="116" y="102"/>
                    <a:pt x="30" y="116"/>
                    <a:pt x="6" y="52"/>
                  </a:cubicBezTo>
                  <a:cubicBezTo>
                    <a:pt x="0" y="35"/>
                    <a:pt x="0" y="18"/>
                    <a:pt x="4" y="0"/>
                  </a:cubicBezTo>
                  <a:cubicBezTo>
                    <a:pt x="7" y="3"/>
                    <a:pt x="7" y="3"/>
                    <a:pt x="7" y="3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0" name="Google Shape;276;p3">
              <a:extLst>
                <a:ext uri="{FF2B5EF4-FFF2-40B4-BE49-F238E27FC236}">
                  <a16:creationId xmlns:a16="http://schemas.microsoft.com/office/drawing/2014/main" id="{D58C7F2D-A67D-E74F-C28F-D1CFD7491834}"/>
                </a:ext>
              </a:extLst>
            </p:cNvPr>
            <p:cNvSpPr/>
            <p:nvPr/>
          </p:nvSpPr>
          <p:spPr>
            <a:xfrm>
              <a:off x="5027613" y="2009776"/>
              <a:ext cx="215900" cy="144463"/>
            </a:xfrm>
            <a:custGeom>
              <a:avLst/>
              <a:gdLst/>
              <a:ahLst/>
              <a:cxnLst/>
              <a:rect l="l" t="t" r="r" b="b"/>
              <a:pathLst>
                <a:path w="128" h="86" extrusionOk="0">
                  <a:moveTo>
                    <a:pt x="0" y="49"/>
                  </a:moveTo>
                  <a:cubicBezTo>
                    <a:pt x="14" y="68"/>
                    <a:pt x="47" y="61"/>
                    <a:pt x="66" y="52"/>
                  </a:cubicBezTo>
                  <a:cubicBezTo>
                    <a:pt x="90" y="41"/>
                    <a:pt x="100" y="22"/>
                    <a:pt x="111" y="0"/>
                  </a:cubicBezTo>
                  <a:cubicBezTo>
                    <a:pt x="128" y="16"/>
                    <a:pt x="109" y="49"/>
                    <a:pt x="96" y="61"/>
                  </a:cubicBezTo>
                  <a:cubicBezTo>
                    <a:pt x="79" y="77"/>
                    <a:pt x="57" y="84"/>
                    <a:pt x="34" y="84"/>
                  </a:cubicBezTo>
                  <a:cubicBezTo>
                    <a:pt x="23" y="84"/>
                    <a:pt x="11" y="86"/>
                    <a:pt x="6" y="73"/>
                  </a:cubicBezTo>
                  <a:cubicBezTo>
                    <a:pt x="0" y="49"/>
                    <a:pt x="0" y="49"/>
                    <a:pt x="0" y="49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1" name="Google Shape;277;p3">
              <a:extLst>
                <a:ext uri="{FF2B5EF4-FFF2-40B4-BE49-F238E27FC236}">
                  <a16:creationId xmlns:a16="http://schemas.microsoft.com/office/drawing/2014/main" id="{C6490340-86D7-01C0-F3D2-C290970E7109}"/>
                </a:ext>
              </a:extLst>
            </p:cNvPr>
            <p:cNvSpPr/>
            <p:nvPr/>
          </p:nvSpPr>
          <p:spPr>
            <a:xfrm>
              <a:off x="4881563" y="2459039"/>
              <a:ext cx="103188" cy="157163"/>
            </a:xfrm>
            <a:custGeom>
              <a:avLst/>
              <a:gdLst/>
              <a:ahLst/>
              <a:cxnLst/>
              <a:rect l="l" t="t" r="r" b="b"/>
              <a:pathLst>
                <a:path w="61" h="94" extrusionOk="0">
                  <a:moveTo>
                    <a:pt x="55" y="28"/>
                  </a:moveTo>
                  <a:cubicBezTo>
                    <a:pt x="43" y="0"/>
                    <a:pt x="2" y="19"/>
                    <a:pt x="1" y="44"/>
                  </a:cubicBezTo>
                  <a:cubicBezTo>
                    <a:pt x="0" y="70"/>
                    <a:pt x="24" y="94"/>
                    <a:pt x="47" y="72"/>
                  </a:cubicBezTo>
                  <a:cubicBezTo>
                    <a:pt x="55" y="65"/>
                    <a:pt x="61" y="51"/>
                    <a:pt x="58" y="40"/>
                  </a:cubicBezTo>
                  <a:cubicBezTo>
                    <a:pt x="55" y="28"/>
                    <a:pt x="55" y="28"/>
                    <a:pt x="55" y="28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2" name="Google Shape;278;p3">
              <a:extLst>
                <a:ext uri="{FF2B5EF4-FFF2-40B4-BE49-F238E27FC236}">
                  <a16:creationId xmlns:a16="http://schemas.microsoft.com/office/drawing/2014/main" id="{486C2570-9E6B-9F3B-BE94-11A05731201B}"/>
                </a:ext>
              </a:extLst>
            </p:cNvPr>
            <p:cNvSpPr/>
            <p:nvPr/>
          </p:nvSpPr>
          <p:spPr>
            <a:xfrm>
              <a:off x="4251325" y="2116138"/>
              <a:ext cx="103188" cy="196850"/>
            </a:xfrm>
            <a:custGeom>
              <a:avLst/>
              <a:gdLst/>
              <a:ahLst/>
              <a:cxnLst/>
              <a:rect l="l" t="t" r="r" b="b"/>
              <a:pathLst>
                <a:path w="61" h="117" extrusionOk="0">
                  <a:moveTo>
                    <a:pt x="56" y="60"/>
                  </a:moveTo>
                  <a:cubicBezTo>
                    <a:pt x="60" y="48"/>
                    <a:pt x="61" y="34"/>
                    <a:pt x="52" y="24"/>
                  </a:cubicBezTo>
                  <a:cubicBezTo>
                    <a:pt x="41" y="13"/>
                    <a:pt x="1" y="0"/>
                    <a:pt x="0" y="27"/>
                  </a:cubicBezTo>
                  <a:cubicBezTo>
                    <a:pt x="0" y="28"/>
                    <a:pt x="1" y="28"/>
                    <a:pt x="1" y="28"/>
                  </a:cubicBezTo>
                  <a:cubicBezTo>
                    <a:pt x="14" y="22"/>
                    <a:pt x="37" y="22"/>
                    <a:pt x="39" y="42"/>
                  </a:cubicBezTo>
                  <a:cubicBezTo>
                    <a:pt x="39" y="52"/>
                    <a:pt x="32" y="64"/>
                    <a:pt x="30" y="75"/>
                  </a:cubicBezTo>
                  <a:cubicBezTo>
                    <a:pt x="26" y="91"/>
                    <a:pt x="35" y="117"/>
                    <a:pt x="55" y="115"/>
                  </a:cubicBezTo>
                  <a:cubicBezTo>
                    <a:pt x="58" y="115"/>
                    <a:pt x="60" y="111"/>
                    <a:pt x="58" y="109"/>
                  </a:cubicBezTo>
                  <a:cubicBezTo>
                    <a:pt x="49" y="98"/>
                    <a:pt x="42" y="92"/>
                    <a:pt x="48" y="78"/>
                  </a:cubicBezTo>
                  <a:cubicBezTo>
                    <a:pt x="51" y="72"/>
                    <a:pt x="54" y="66"/>
                    <a:pt x="56" y="6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3" name="Google Shape;279;p3">
              <a:extLst>
                <a:ext uri="{FF2B5EF4-FFF2-40B4-BE49-F238E27FC236}">
                  <a16:creationId xmlns:a16="http://schemas.microsoft.com/office/drawing/2014/main" id="{DC82D460-1A71-E2E8-9102-274EA766CB15}"/>
                </a:ext>
              </a:extLst>
            </p:cNvPr>
            <p:cNvSpPr/>
            <p:nvPr/>
          </p:nvSpPr>
          <p:spPr>
            <a:xfrm>
              <a:off x="4633913" y="1544638"/>
              <a:ext cx="741363" cy="531813"/>
            </a:xfrm>
            <a:custGeom>
              <a:avLst/>
              <a:gdLst/>
              <a:ahLst/>
              <a:cxnLst/>
              <a:rect l="l" t="t" r="r" b="b"/>
              <a:pathLst>
                <a:path w="440" h="317" extrusionOk="0">
                  <a:moveTo>
                    <a:pt x="434" y="315"/>
                  </a:moveTo>
                  <a:cubicBezTo>
                    <a:pt x="434" y="316"/>
                    <a:pt x="437" y="317"/>
                    <a:pt x="437" y="315"/>
                  </a:cubicBezTo>
                  <a:cubicBezTo>
                    <a:pt x="440" y="300"/>
                    <a:pt x="437" y="285"/>
                    <a:pt x="436" y="270"/>
                  </a:cubicBezTo>
                  <a:cubicBezTo>
                    <a:pt x="435" y="252"/>
                    <a:pt x="435" y="234"/>
                    <a:pt x="434" y="216"/>
                  </a:cubicBezTo>
                  <a:cubicBezTo>
                    <a:pt x="433" y="179"/>
                    <a:pt x="430" y="142"/>
                    <a:pt x="422" y="106"/>
                  </a:cubicBezTo>
                  <a:cubicBezTo>
                    <a:pt x="412" y="57"/>
                    <a:pt x="391" y="16"/>
                    <a:pt x="341" y="1"/>
                  </a:cubicBezTo>
                  <a:cubicBezTo>
                    <a:pt x="339" y="0"/>
                    <a:pt x="338" y="0"/>
                    <a:pt x="337" y="1"/>
                  </a:cubicBezTo>
                  <a:cubicBezTo>
                    <a:pt x="335" y="1"/>
                    <a:pt x="332" y="1"/>
                    <a:pt x="330" y="2"/>
                  </a:cubicBezTo>
                  <a:cubicBezTo>
                    <a:pt x="305" y="15"/>
                    <a:pt x="282" y="30"/>
                    <a:pt x="254" y="38"/>
                  </a:cubicBezTo>
                  <a:cubicBezTo>
                    <a:pt x="224" y="46"/>
                    <a:pt x="192" y="49"/>
                    <a:pt x="160" y="50"/>
                  </a:cubicBezTo>
                  <a:cubicBezTo>
                    <a:pt x="130" y="51"/>
                    <a:pt x="101" y="46"/>
                    <a:pt x="72" y="40"/>
                  </a:cubicBezTo>
                  <a:cubicBezTo>
                    <a:pt x="48" y="35"/>
                    <a:pt x="24" y="31"/>
                    <a:pt x="1" y="40"/>
                  </a:cubicBezTo>
                  <a:cubicBezTo>
                    <a:pt x="0" y="41"/>
                    <a:pt x="0" y="41"/>
                    <a:pt x="1" y="41"/>
                  </a:cubicBezTo>
                  <a:cubicBezTo>
                    <a:pt x="32" y="42"/>
                    <a:pt x="61" y="53"/>
                    <a:pt x="91" y="60"/>
                  </a:cubicBezTo>
                  <a:cubicBezTo>
                    <a:pt x="119" y="68"/>
                    <a:pt x="149" y="69"/>
                    <a:pt x="178" y="68"/>
                  </a:cubicBezTo>
                  <a:cubicBezTo>
                    <a:pt x="208" y="68"/>
                    <a:pt x="239" y="63"/>
                    <a:pt x="268" y="55"/>
                  </a:cubicBezTo>
                  <a:cubicBezTo>
                    <a:pt x="294" y="49"/>
                    <a:pt x="318" y="34"/>
                    <a:pt x="342" y="22"/>
                  </a:cubicBezTo>
                  <a:cubicBezTo>
                    <a:pt x="343" y="22"/>
                    <a:pt x="344" y="21"/>
                    <a:pt x="345" y="20"/>
                  </a:cubicBezTo>
                  <a:cubicBezTo>
                    <a:pt x="383" y="48"/>
                    <a:pt x="403" y="79"/>
                    <a:pt x="416" y="127"/>
                  </a:cubicBezTo>
                  <a:cubicBezTo>
                    <a:pt x="424" y="159"/>
                    <a:pt x="425" y="193"/>
                    <a:pt x="426" y="226"/>
                  </a:cubicBezTo>
                  <a:cubicBezTo>
                    <a:pt x="427" y="254"/>
                    <a:pt x="424" y="288"/>
                    <a:pt x="434" y="3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4" name="Google Shape;280;p3">
              <a:extLst>
                <a:ext uri="{FF2B5EF4-FFF2-40B4-BE49-F238E27FC236}">
                  <a16:creationId xmlns:a16="http://schemas.microsoft.com/office/drawing/2014/main" id="{793AEEBD-4BF0-B885-14E1-B71BF4C8B89F}"/>
                </a:ext>
              </a:extLst>
            </p:cNvPr>
            <p:cNvSpPr/>
            <p:nvPr/>
          </p:nvSpPr>
          <p:spPr>
            <a:xfrm>
              <a:off x="5359400" y="1795463"/>
              <a:ext cx="265113" cy="579438"/>
            </a:xfrm>
            <a:custGeom>
              <a:avLst/>
              <a:gdLst/>
              <a:ahLst/>
              <a:cxnLst/>
              <a:rect l="l" t="t" r="r" b="b"/>
              <a:pathLst>
                <a:path w="157" h="345" extrusionOk="0">
                  <a:moveTo>
                    <a:pt x="42" y="107"/>
                  </a:moveTo>
                  <a:cubicBezTo>
                    <a:pt x="42" y="92"/>
                    <a:pt x="44" y="76"/>
                    <a:pt x="44" y="60"/>
                  </a:cubicBezTo>
                  <a:cubicBezTo>
                    <a:pt x="44" y="59"/>
                    <a:pt x="43" y="59"/>
                    <a:pt x="43" y="60"/>
                  </a:cubicBezTo>
                  <a:cubicBezTo>
                    <a:pt x="40" y="68"/>
                    <a:pt x="37" y="77"/>
                    <a:pt x="35" y="86"/>
                  </a:cubicBezTo>
                  <a:cubicBezTo>
                    <a:pt x="35" y="85"/>
                    <a:pt x="35" y="84"/>
                    <a:pt x="35" y="84"/>
                  </a:cubicBezTo>
                  <a:cubicBezTo>
                    <a:pt x="33" y="56"/>
                    <a:pt x="30" y="28"/>
                    <a:pt x="29" y="0"/>
                  </a:cubicBezTo>
                  <a:cubicBezTo>
                    <a:pt x="29" y="0"/>
                    <a:pt x="28" y="0"/>
                    <a:pt x="28" y="0"/>
                  </a:cubicBezTo>
                  <a:cubicBezTo>
                    <a:pt x="27" y="28"/>
                    <a:pt x="25" y="56"/>
                    <a:pt x="25" y="84"/>
                  </a:cubicBezTo>
                  <a:cubicBezTo>
                    <a:pt x="25" y="102"/>
                    <a:pt x="22" y="123"/>
                    <a:pt x="27" y="141"/>
                  </a:cubicBezTo>
                  <a:cubicBezTo>
                    <a:pt x="28" y="144"/>
                    <a:pt x="28" y="147"/>
                    <a:pt x="30" y="149"/>
                  </a:cubicBezTo>
                  <a:cubicBezTo>
                    <a:pt x="29" y="150"/>
                    <a:pt x="29" y="151"/>
                    <a:pt x="29" y="152"/>
                  </a:cubicBezTo>
                  <a:cubicBezTo>
                    <a:pt x="27" y="157"/>
                    <a:pt x="26" y="166"/>
                    <a:pt x="21" y="168"/>
                  </a:cubicBezTo>
                  <a:cubicBezTo>
                    <a:pt x="16" y="170"/>
                    <a:pt x="10" y="169"/>
                    <a:pt x="6" y="170"/>
                  </a:cubicBezTo>
                  <a:cubicBezTo>
                    <a:pt x="6" y="171"/>
                    <a:pt x="6" y="171"/>
                    <a:pt x="6" y="171"/>
                  </a:cubicBezTo>
                  <a:cubicBezTo>
                    <a:pt x="2" y="172"/>
                    <a:pt x="0" y="178"/>
                    <a:pt x="4" y="180"/>
                  </a:cubicBezTo>
                  <a:cubicBezTo>
                    <a:pt x="5" y="181"/>
                    <a:pt x="6" y="182"/>
                    <a:pt x="7" y="183"/>
                  </a:cubicBezTo>
                  <a:cubicBezTo>
                    <a:pt x="9" y="183"/>
                    <a:pt x="11" y="183"/>
                    <a:pt x="13" y="183"/>
                  </a:cubicBezTo>
                  <a:cubicBezTo>
                    <a:pt x="18" y="183"/>
                    <a:pt x="22" y="183"/>
                    <a:pt x="26" y="182"/>
                  </a:cubicBezTo>
                  <a:cubicBezTo>
                    <a:pt x="36" y="178"/>
                    <a:pt x="42" y="167"/>
                    <a:pt x="41" y="157"/>
                  </a:cubicBezTo>
                  <a:cubicBezTo>
                    <a:pt x="52" y="145"/>
                    <a:pt x="64" y="139"/>
                    <a:pt x="84" y="142"/>
                  </a:cubicBezTo>
                  <a:cubicBezTo>
                    <a:pt x="111" y="146"/>
                    <a:pt x="124" y="168"/>
                    <a:pt x="130" y="192"/>
                  </a:cubicBezTo>
                  <a:cubicBezTo>
                    <a:pt x="144" y="244"/>
                    <a:pt x="120" y="298"/>
                    <a:pt x="96" y="342"/>
                  </a:cubicBezTo>
                  <a:cubicBezTo>
                    <a:pt x="96" y="343"/>
                    <a:pt x="97" y="345"/>
                    <a:pt x="98" y="344"/>
                  </a:cubicBezTo>
                  <a:cubicBezTo>
                    <a:pt x="129" y="336"/>
                    <a:pt x="141" y="288"/>
                    <a:pt x="148" y="260"/>
                  </a:cubicBezTo>
                  <a:cubicBezTo>
                    <a:pt x="157" y="225"/>
                    <a:pt x="156" y="186"/>
                    <a:pt x="137" y="154"/>
                  </a:cubicBezTo>
                  <a:cubicBezTo>
                    <a:pt x="123" y="130"/>
                    <a:pt x="94" y="120"/>
                    <a:pt x="67" y="124"/>
                  </a:cubicBezTo>
                  <a:cubicBezTo>
                    <a:pt x="58" y="125"/>
                    <a:pt x="50" y="128"/>
                    <a:pt x="43" y="133"/>
                  </a:cubicBezTo>
                  <a:cubicBezTo>
                    <a:pt x="42" y="124"/>
                    <a:pt x="41" y="116"/>
                    <a:pt x="42" y="10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5" name="Google Shape;281;p3">
              <a:extLst>
                <a:ext uri="{FF2B5EF4-FFF2-40B4-BE49-F238E27FC236}">
                  <a16:creationId xmlns:a16="http://schemas.microsoft.com/office/drawing/2014/main" id="{10A4D69D-2F0D-2B01-779B-9657697C59F4}"/>
                </a:ext>
              </a:extLst>
            </p:cNvPr>
            <p:cNvSpPr/>
            <p:nvPr/>
          </p:nvSpPr>
          <p:spPr>
            <a:xfrm>
              <a:off x="5449888" y="2087563"/>
              <a:ext cx="101600" cy="206375"/>
            </a:xfrm>
            <a:custGeom>
              <a:avLst/>
              <a:gdLst/>
              <a:ahLst/>
              <a:cxnLst/>
              <a:rect l="l" t="t" r="r" b="b"/>
              <a:pathLst>
                <a:path w="60" h="123" extrusionOk="0">
                  <a:moveTo>
                    <a:pt x="60" y="23"/>
                  </a:moveTo>
                  <a:cubicBezTo>
                    <a:pt x="60" y="23"/>
                    <a:pt x="60" y="23"/>
                    <a:pt x="60" y="23"/>
                  </a:cubicBezTo>
                  <a:cubicBezTo>
                    <a:pt x="46" y="0"/>
                    <a:pt x="9" y="4"/>
                    <a:pt x="3" y="32"/>
                  </a:cubicBezTo>
                  <a:cubicBezTo>
                    <a:pt x="0" y="44"/>
                    <a:pt x="6" y="57"/>
                    <a:pt x="11" y="69"/>
                  </a:cubicBezTo>
                  <a:cubicBezTo>
                    <a:pt x="14" y="75"/>
                    <a:pt x="19" y="83"/>
                    <a:pt x="17" y="91"/>
                  </a:cubicBezTo>
                  <a:cubicBezTo>
                    <a:pt x="16" y="99"/>
                    <a:pt x="7" y="105"/>
                    <a:pt x="5" y="113"/>
                  </a:cubicBezTo>
                  <a:cubicBezTo>
                    <a:pt x="3" y="118"/>
                    <a:pt x="9" y="123"/>
                    <a:pt x="14" y="122"/>
                  </a:cubicBezTo>
                  <a:cubicBezTo>
                    <a:pt x="36" y="116"/>
                    <a:pt x="43" y="93"/>
                    <a:pt x="36" y="74"/>
                  </a:cubicBezTo>
                  <a:cubicBezTo>
                    <a:pt x="33" y="64"/>
                    <a:pt x="27" y="56"/>
                    <a:pt x="23" y="47"/>
                  </a:cubicBezTo>
                  <a:cubicBezTo>
                    <a:pt x="20" y="40"/>
                    <a:pt x="18" y="34"/>
                    <a:pt x="21" y="28"/>
                  </a:cubicBezTo>
                  <a:cubicBezTo>
                    <a:pt x="29" y="13"/>
                    <a:pt x="48" y="20"/>
                    <a:pt x="60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6" name="Google Shape;282;p3">
              <a:extLst>
                <a:ext uri="{FF2B5EF4-FFF2-40B4-BE49-F238E27FC236}">
                  <a16:creationId xmlns:a16="http://schemas.microsoft.com/office/drawing/2014/main" id="{99B40E30-E3EF-FE54-F0BE-6935CEFDBF8D}"/>
                </a:ext>
              </a:extLst>
            </p:cNvPr>
            <p:cNvSpPr/>
            <p:nvPr/>
          </p:nvSpPr>
          <p:spPr>
            <a:xfrm>
              <a:off x="4078288" y="3263901"/>
              <a:ext cx="153988" cy="401638"/>
            </a:xfrm>
            <a:custGeom>
              <a:avLst/>
              <a:gdLst/>
              <a:ahLst/>
              <a:cxnLst/>
              <a:rect l="l" t="t" r="r" b="b"/>
              <a:pathLst>
                <a:path w="92" h="239" extrusionOk="0">
                  <a:moveTo>
                    <a:pt x="91" y="1"/>
                  </a:moveTo>
                  <a:cubicBezTo>
                    <a:pt x="78" y="10"/>
                    <a:pt x="73" y="28"/>
                    <a:pt x="67" y="42"/>
                  </a:cubicBezTo>
                  <a:cubicBezTo>
                    <a:pt x="54" y="67"/>
                    <a:pt x="43" y="91"/>
                    <a:pt x="35" y="117"/>
                  </a:cubicBezTo>
                  <a:cubicBezTo>
                    <a:pt x="25" y="147"/>
                    <a:pt x="17" y="177"/>
                    <a:pt x="9" y="207"/>
                  </a:cubicBezTo>
                  <a:cubicBezTo>
                    <a:pt x="7" y="217"/>
                    <a:pt x="3" y="228"/>
                    <a:pt x="0" y="239"/>
                  </a:cubicBezTo>
                  <a:cubicBezTo>
                    <a:pt x="20" y="239"/>
                    <a:pt x="20" y="239"/>
                    <a:pt x="20" y="239"/>
                  </a:cubicBezTo>
                  <a:cubicBezTo>
                    <a:pt x="21" y="232"/>
                    <a:pt x="22" y="226"/>
                    <a:pt x="24" y="220"/>
                  </a:cubicBezTo>
                  <a:cubicBezTo>
                    <a:pt x="29" y="193"/>
                    <a:pt x="35" y="166"/>
                    <a:pt x="41" y="138"/>
                  </a:cubicBezTo>
                  <a:cubicBezTo>
                    <a:pt x="48" y="109"/>
                    <a:pt x="55" y="82"/>
                    <a:pt x="69" y="54"/>
                  </a:cubicBezTo>
                  <a:cubicBezTo>
                    <a:pt x="77" y="37"/>
                    <a:pt x="82" y="18"/>
                    <a:pt x="92" y="2"/>
                  </a:cubicBezTo>
                  <a:cubicBezTo>
                    <a:pt x="92" y="1"/>
                    <a:pt x="92" y="0"/>
                    <a:pt x="91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7" name="Google Shape;283;p3">
              <a:extLst>
                <a:ext uri="{FF2B5EF4-FFF2-40B4-BE49-F238E27FC236}">
                  <a16:creationId xmlns:a16="http://schemas.microsoft.com/office/drawing/2014/main" id="{0B34572B-B2D0-1C28-222A-A6677471C2D6}"/>
                </a:ext>
              </a:extLst>
            </p:cNvPr>
            <p:cNvSpPr/>
            <p:nvPr/>
          </p:nvSpPr>
          <p:spPr>
            <a:xfrm>
              <a:off x="4327525" y="3432176"/>
              <a:ext cx="38100" cy="233363"/>
            </a:xfrm>
            <a:custGeom>
              <a:avLst/>
              <a:gdLst/>
              <a:ahLst/>
              <a:cxnLst/>
              <a:rect l="l" t="t" r="r" b="b"/>
              <a:pathLst>
                <a:path w="23" h="139" extrusionOk="0"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44"/>
                    <a:pt x="0" y="93"/>
                    <a:pt x="4" y="139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22"/>
                    <a:pt x="21" y="105"/>
                    <a:pt x="20" y="89"/>
                  </a:cubicBezTo>
                  <a:cubicBezTo>
                    <a:pt x="18" y="59"/>
                    <a:pt x="15" y="30"/>
                    <a:pt x="1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8" name="Google Shape;284;p3">
              <a:extLst>
                <a:ext uri="{FF2B5EF4-FFF2-40B4-BE49-F238E27FC236}">
                  <a16:creationId xmlns:a16="http://schemas.microsoft.com/office/drawing/2014/main" id="{13A92C91-B769-4F11-97EE-BF96232E5A4D}"/>
                </a:ext>
              </a:extLst>
            </p:cNvPr>
            <p:cNvSpPr/>
            <p:nvPr/>
          </p:nvSpPr>
          <p:spPr>
            <a:xfrm>
              <a:off x="4167188" y="1327151"/>
              <a:ext cx="1498600" cy="2014538"/>
            </a:xfrm>
            <a:custGeom>
              <a:avLst/>
              <a:gdLst/>
              <a:ahLst/>
              <a:cxnLst/>
              <a:rect l="l" t="t" r="r" b="b"/>
              <a:pathLst>
                <a:path w="890" h="1198" extrusionOk="0">
                  <a:moveTo>
                    <a:pt x="773" y="1041"/>
                  </a:moveTo>
                  <a:cubicBezTo>
                    <a:pt x="750" y="1032"/>
                    <a:pt x="727" y="1022"/>
                    <a:pt x="705" y="1013"/>
                  </a:cubicBezTo>
                  <a:cubicBezTo>
                    <a:pt x="691" y="1007"/>
                    <a:pt x="674" y="1000"/>
                    <a:pt x="658" y="1002"/>
                  </a:cubicBezTo>
                  <a:cubicBezTo>
                    <a:pt x="658" y="1002"/>
                    <a:pt x="658" y="1001"/>
                    <a:pt x="658" y="1001"/>
                  </a:cubicBezTo>
                  <a:cubicBezTo>
                    <a:pt x="658" y="1001"/>
                    <a:pt x="658" y="1000"/>
                    <a:pt x="659" y="1000"/>
                  </a:cubicBezTo>
                  <a:cubicBezTo>
                    <a:pt x="662" y="976"/>
                    <a:pt x="639" y="957"/>
                    <a:pt x="620" y="947"/>
                  </a:cubicBezTo>
                  <a:cubicBezTo>
                    <a:pt x="612" y="943"/>
                    <a:pt x="604" y="941"/>
                    <a:pt x="596" y="941"/>
                  </a:cubicBezTo>
                  <a:cubicBezTo>
                    <a:pt x="595" y="935"/>
                    <a:pt x="593" y="930"/>
                    <a:pt x="590" y="925"/>
                  </a:cubicBezTo>
                  <a:cubicBezTo>
                    <a:pt x="631" y="906"/>
                    <a:pt x="668" y="877"/>
                    <a:pt x="697" y="840"/>
                  </a:cubicBezTo>
                  <a:cubicBezTo>
                    <a:pt x="732" y="794"/>
                    <a:pt x="746" y="737"/>
                    <a:pt x="750" y="680"/>
                  </a:cubicBezTo>
                  <a:cubicBezTo>
                    <a:pt x="751" y="665"/>
                    <a:pt x="751" y="651"/>
                    <a:pt x="751" y="636"/>
                  </a:cubicBezTo>
                  <a:cubicBezTo>
                    <a:pt x="755" y="638"/>
                    <a:pt x="760" y="640"/>
                    <a:pt x="764" y="640"/>
                  </a:cubicBezTo>
                  <a:cubicBezTo>
                    <a:pt x="774" y="641"/>
                    <a:pt x="791" y="636"/>
                    <a:pt x="799" y="631"/>
                  </a:cubicBezTo>
                  <a:cubicBezTo>
                    <a:pt x="800" y="630"/>
                    <a:pt x="800" y="630"/>
                    <a:pt x="800" y="629"/>
                  </a:cubicBezTo>
                  <a:cubicBezTo>
                    <a:pt x="800" y="629"/>
                    <a:pt x="800" y="628"/>
                    <a:pt x="800" y="628"/>
                  </a:cubicBezTo>
                  <a:cubicBezTo>
                    <a:pt x="800" y="628"/>
                    <a:pt x="800" y="628"/>
                    <a:pt x="800" y="628"/>
                  </a:cubicBezTo>
                  <a:cubicBezTo>
                    <a:pt x="800" y="627"/>
                    <a:pt x="799" y="627"/>
                    <a:pt x="798" y="627"/>
                  </a:cubicBezTo>
                  <a:cubicBezTo>
                    <a:pt x="790" y="626"/>
                    <a:pt x="781" y="629"/>
                    <a:pt x="772" y="628"/>
                  </a:cubicBezTo>
                  <a:cubicBezTo>
                    <a:pt x="768" y="628"/>
                    <a:pt x="763" y="627"/>
                    <a:pt x="760" y="625"/>
                  </a:cubicBezTo>
                  <a:cubicBezTo>
                    <a:pt x="755" y="622"/>
                    <a:pt x="755" y="617"/>
                    <a:pt x="750" y="614"/>
                  </a:cubicBezTo>
                  <a:cubicBezTo>
                    <a:pt x="750" y="614"/>
                    <a:pt x="750" y="614"/>
                    <a:pt x="749" y="614"/>
                  </a:cubicBezTo>
                  <a:cubicBezTo>
                    <a:pt x="749" y="604"/>
                    <a:pt x="748" y="594"/>
                    <a:pt x="747" y="584"/>
                  </a:cubicBezTo>
                  <a:cubicBezTo>
                    <a:pt x="744" y="555"/>
                    <a:pt x="740" y="524"/>
                    <a:pt x="728" y="497"/>
                  </a:cubicBezTo>
                  <a:cubicBezTo>
                    <a:pt x="728" y="496"/>
                    <a:pt x="726" y="497"/>
                    <a:pt x="726" y="498"/>
                  </a:cubicBezTo>
                  <a:cubicBezTo>
                    <a:pt x="725" y="524"/>
                    <a:pt x="731" y="549"/>
                    <a:pt x="734" y="575"/>
                  </a:cubicBezTo>
                  <a:cubicBezTo>
                    <a:pt x="738" y="604"/>
                    <a:pt x="739" y="633"/>
                    <a:pt x="737" y="663"/>
                  </a:cubicBezTo>
                  <a:cubicBezTo>
                    <a:pt x="734" y="718"/>
                    <a:pt x="717" y="772"/>
                    <a:pt x="687" y="818"/>
                  </a:cubicBezTo>
                  <a:cubicBezTo>
                    <a:pt x="628" y="908"/>
                    <a:pt x="521" y="939"/>
                    <a:pt x="420" y="937"/>
                  </a:cubicBezTo>
                  <a:cubicBezTo>
                    <a:pt x="312" y="935"/>
                    <a:pt x="211" y="890"/>
                    <a:pt x="161" y="791"/>
                  </a:cubicBezTo>
                  <a:cubicBezTo>
                    <a:pt x="115" y="699"/>
                    <a:pt x="133" y="587"/>
                    <a:pt x="142" y="486"/>
                  </a:cubicBezTo>
                  <a:cubicBezTo>
                    <a:pt x="143" y="486"/>
                    <a:pt x="144" y="486"/>
                    <a:pt x="144" y="485"/>
                  </a:cubicBezTo>
                  <a:cubicBezTo>
                    <a:pt x="150" y="485"/>
                    <a:pt x="156" y="485"/>
                    <a:pt x="162" y="485"/>
                  </a:cubicBezTo>
                  <a:cubicBezTo>
                    <a:pt x="170" y="485"/>
                    <a:pt x="173" y="478"/>
                    <a:pt x="171" y="472"/>
                  </a:cubicBezTo>
                  <a:cubicBezTo>
                    <a:pt x="174" y="450"/>
                    <a:pt x="172" y="428"/>
                    <a:pt x="172" y="406"/>
                  </a:cubicBezTo>
                  <a:cubicBezTo>
                    <a:pt x="171" y="377"/>
                    <a:pt x="171" y="349"/>
                    <a:pt x="174" y="320"/>
                  </a:cubicBezTo>
                  <a:cubicBezTo>
                    <a:pt x="177" y="289"/>
                    <a:pt x="185" y="259"/>
                    <a:pt x="198" y="231"/>
                  </a:cubicBezTo>
                  <a:cubicBezTo>
                    <a:pt x="210" y="206"/>
                    <a:pt x="230" y="196"/>
                    <a:pt x="251" y="180"/>
                  </a:cubicBezTo>
                  <a:cubicBezTo>
                    <a:pt x="254" y="179"/>
                    <a:pt x="253" y="173"/>
                    <a:pt x="249" y="174"/>
                  </a:cubicBezTo>
                  <a:cubicBezTo>
                    <a:pt x="199" y="178"/>
                    <a:pt x="179" y="245"/>
                    <a:pt x="169" y="285"/>
                  </a:cubicBezTo>
                  <a:cubicBezTo>
                    <a:pt x="162" y="316"/>
                    <a:pt x="160" y="348"/>
                    <a:pt x="159" y="380"/>
                  </a:cubicBezTo>
                  <a:cubicBezTo>
                    <a:pt x="158" y="408"/>
                    <a:pt x="157" y="437"/>
                    <a:pt x="161" y="465"/>
                  </a:cubicBezTo>
                  <a:cubicBezTo>
                    <a:pt x="157" y="465"/>
                    <a:pt x="154" y="465"/>
                    <a:pt x="150" y="466"/>
                  </a:cubicBezTo>
                  <a:cubicBezTo>
                    <a:pt x="150" y="457"/>
                    <a:pt x="148" y="448"/>
                    <a:pt x="146" y="439"/>
                  </a:cubicBezTo>
                  <a:cubicBezTo>
                    <a:pt x="139" y="409"/>
                    <a:pt x="138" y="379"/>
                    <a:pt x="137" y="349"/>
                  </a:cubicBezTo>
                  <a:cubicBezTo>
                    <a:pt x="137" y="349"/>
                    <a:pt x="136" y="349"/>
                    <a:pt x="136" y="349"/>
                  </a:cubicBezTo>
                  <a:cubicBezTo>
                    <a:pt x="135" y="374"/>
                    <a:pt x="135" y="399"/>
                    <a:pt x="134" y="424"/>
                  </a:cubicBezTo>
                  <a:cubicBezTo>
                    <a:pt x="134" y="425"/>
                    <a:pt x="134" y="426"/>
                    <a:pt x="134" y="427"/>
                  </a:cubicBezTo>
                  <a:cubicBezTo>
                    <a:pt x="128" y="397"/>
                    <a:pt x="126" y="366"/>
                    <a:pt x="126" y="335"/>
                  </a:cubicBezTo>
                  <a:cubicBezTo>
                    <a:pt x="126" y="298"/>
                    <a:pt x="126" y="260"/>
                    <a:pt x="135" y="223"/>
                  </a:cubicBezTo>
                  <a:cubicBezTo>
                    <a:pt x="152" y="151"/>
                    <a:pt x="210" y="100"/>
                    <a:pt x="275" y="69"/>
                  </a:cubicBezTo>
                  <a:cubicBezTo>
                    <a:pt x="309" y="53"/>
                    <a:pt x="346" y="46"/>
                    <a:pt x="382" y="39"/>
                  </a:cubicBezTo>
                  <a:cubicBezTo>
                    <a:pt x="424" y="31"/>
                    <a:pt x="467" y="27"/>
                    <a:pt x="509" y="34"/>
                  </a:cubicBezTo>
                  <a:cubicBezTo>
                    <a:pt x="533" y="39"/>
                    <a:pt x="557" y="49"/>
                    <a:pt x="579" y="59"/>
                  </a:cubicBezTo>
                  <a:cubicBezTo>
                    <a:pt x="598" y="68"/>
                    <a:pt x="629" y="83"/>
                    <a:pt x="631" y="107"/>
                  </a:cubicBezTo>
                  <a:cubicBezTo>
                    <a:pt x="592" y="51"/>
                    <a:pt x="508" y="46"/>
                    <a:pt x="446" y="48"/>
                  </a:cubicBezTo>
                  <a:cubicBezTo>
                    <a:pt x="446" y="48"/>
                    <a:pt x="446" y="48"/>
                    <a:pt x="446" y="48"/>
                  </a:cubicBezTo>
                  <a:cubicBezTo>
                    <a:pt x="479" y="52"/>
                    <a:pt x="511" y="56"/>
                    <a:pt x="543" y="66"/>
                  </a:cubicBezTo>
                  <a:cubicBezTo>
                    <a:pt x="579" y="77"/>
                    <a:pt x="602" y="95"/>
                    <a:pt x="627" y="123"/>
                  </a:cubicBezTo>
                  <a:cubicBezTo>
                    <a:pt x="631" y="128"/>
                    <a:pt x="639" y="122"/>
                    <a:pt x="637" y="117"/>
                  </a:cubicBezTo>
                  <a:cubicBezTo>
                    <a:pt x="638" y="117"/>
                    <a:pt x="638" y="117"/>
                    <a:pt x="639" y="117"/>
                  </a:cubicBezTo>
                  <a:cubicBezTo>
                    <a:pt x="640" y="118"/>
                    <a:pt x="642" y="118"/>
                    <a:pt x="643" y="118"/>
                  </a:cubicBezTo>
                  <a:cubicBezTo>
                    <a:pt x="663" y="119"/>
                    <a:pt x="679" y="124"/>
                    <a:pt x="693" y="139"/>
                  </a:cubicBezTo>
                  <a:cubicBezTo>
                    <a:pt x="705" y="152"/>
                    <a:pt x="713" y="168"/>
                    <a:pt x="722" y="182"/>
                  </a:cubicBezTo>
                  <a:cubicBezTo>
                    <a:pt x="723" y="183"/>
                    <a:pt x="723" y="182"/>
                    <a:pt x="723" y="182"/>
                  </a:cubicBezTo>
                  <a:cubicBezTo>
                    <a:pt x="718" y="158"/>
                    <a:pt x="704" y="132"/>
                    <a:pt x="684" y="117"/>
                  </a:cubicBezTo>
                  <a:cubicBezTo>
                    <a:pt x="708" y="126"/>
                    <a:pt x="724" y="148"/>
                    <a:pt x="736" y="177"/>
                  </a:cubicBezTo>
                  <a:cubicBezTo>
                    <a:pt x="744" y="196"/>
                    <a:pt x="749" y="216"/>
                    <a:pt x="751" y="237"/>
                  </a:cubicBezTo>
                  <a:cubicBezTo>
                    <a:pt x="755" y="264"/>
                    <a:pt x="750" y="291"/>
                    <a:pt x="752" y="319"/>
                  </a:cubicBezTo>
                  <a:cubicBezTo>
                    <a:pt x="752" y="320"/>
                    <a:pt x="754" y="320"/>
                    <a:pt x="754" y="319"/>
                  </a:cubicBezTo>
                  <a:cubicBezTo>
                    <a:pt x="760" y="265"/>
                    <a:pt x="764" y="203"/>
                    <a:pt x="742" y="152"/>
                  </a:cubicBezTo>
                  <a:cubicBezTo>
                    <a:pt x="724" y="112"/>
                    <a:pt x="690" y="86"/>
                    <a:pt x="649" y="97"/>
                  </a:cubicBezTo>
                  <a:cubicBezTo>
                    <a:pt x="641" y="58"/>
                    <a:pt x="572" y="36"/>
                    <a:pt x="541" y="26"/>
                  </a:cubicBezTo>
                  <a:cubicBezTo>
                    <a:pt x="463" y="0"/>
                    <a:pt x="366" y="17"/>
                    <a:pt x="291" y="45"/>
                  </a:cubicBezTo>
                  <a:cubicBezTo>
                    <a:pt x="220" y="72"/>
                    <a:pt x="159" y="122"/>
                    <a:pt x="130" y="192"/>
                  </a:cubicBezTo>
                  <a:cubicBezTo>
                    <a:pt x="114" y="229"/>
                    <a:pt x="113" y="268"/>
                    <a:pt x="112" y="307"/>
                  </a:cubicBezTo>
                  <a:cubicBezTo>
                    <a:pt x="111" y="347"/>
                    <a:pt x="112" y="387"/>
                    <a:pt x="118" y="426"/>
                  </a:cubicBezTo>
                  <a:cubicBezTo>
                    <a:pt x="106" y="419"/>
                    <a:pt x="89" y="416"/>
                    <a:pt x="77" y="417"/>
                  </a:cubicBezTo>
                  <a:cubicBezTo>
                    <a:pt x="57" y="418"/>
                    <a:pt x="42" y="429"/>
                    <a:pt x="30" y="445"/>
                  </a:cubicBezTo>
                  <a:cubicBezTo>
                    <a:pt x="6" y="477"/>
                    <a:pt x="0" y="532"/>
                    <a:pt x="20" y="566"/>
                  </a:cubicBezTo>
                  <a:cubicBezTo>
                    <a:pt x="20" y="566"/>
                    <a:pt x="21" y="566"/>
                    <a:pt x="21" y="565"/>
                  </a:cubicBezTo>
                  <a:cubicBezTo>
                    <a:pt x="18" y="534"/>
                    <a:pt x="22" y="498"/>
                    <a:pt x="35" y="469"/>
                  </a:cubicBezTo>
                  <a:cubicBezTo>
                    <a:pt x="42" y="453"/>
                    <a:pt x="53" y="439"/>
                    <a:pt x="70" y="434"/>
                  </a:cubicBezTo>
                  <a:cubicBezTo>
                    <a:pt x="93" y="428"/>
                    <a:pt x="105" y="454"/>
                    <a:pt x="125" y="457"/>
                  </a:cubicBezTo>
                  <a:cubicBezTo>
                    <a:pt x="127" y="460"/>
                    <a:pt x="130" y="462"/>
                    <a:pt x="133" y="461"/>
                  </a:cubicBezTo>
                  <a:cubicBezTo>
                    <a:pt x="133" y="464"/>
                    <a:pt x="133" y="468"/>
                    <a:pt x="132" y="471"/>
                  </a:cubicBezTo>
                  <a:cubicBezTo>
                    <a:pt x="131" y="472"/>
                    <a:pt x="131" y="473"/>
                    <a:pt x="130" y="475"/>
                  </a:cubicBezTo>
                  <a:cubicBezTo>
                    <a:pt x="128" y="479"/>
                    <a:pt x="131" y="483"/>
                    <a:pt x="136" y="485"/>
                  </a:cubicBezTo>
                  <a:cubicBezTo>
                    <a:pt x="128" y="536"/>
                    <a:pt x="120" y="589"/>
                    <a:pt x="119" y="641"/>
                  </a:cubicBezTo>
                  <a:cubicBezTo>
                    <a:pt x="115" y="642"/>
                    <a:pt x="112" y="643"/>
                    <a:pt x="106" y="645"/>
                  </a:cubicBezTo>
                  <a:cubicBezTo>
                    <a:pt x="93" y="650"/>
                    <a:pt x="78" y="646"/>
                    <a:pt x="66" y="641"/>
                  </a:cubicBezTo>
                  <a:cubicBezTo>
                    <a:pt x="38" y="629"/>
                    <a:pt x="33" y="604"/>
                    <a:pt x="21" y="580"/>
                  </a:cubicBezTo>
                  <a:cubicBezTo>
                    <a:pt x="21" y="580"/>
                    <a:pt x="20" y="580"/>
                    <a:pt x="20" y="580"/>
                  </a:cubicBezTo>
                  <a:cubicBezTo>
                    <a:pt x="27" y="612"/>
                    <a:pt x="30" y="642"/>
                    <a:pt x="62" y="658"/>
                  </a:cubicBezTo>
                  <a:cubicBezTo>
                    <a:pt x="74" y="664"/>
                    <a:pt x="103" y="671"/>
                    <a:pt x="118" y="663"/>
                  </a:cubicBezTo>
                  <a:cubicBezTo>
                    <a:pt x="119" y="714"/>
                    <a:pt x="127" y="765"/>
                    <a:pt x="151" y="813"/>
                  </a:cubicBezTo>
                  <a:cubicBezTo>
                    <a:pt x="185" y="880"/>
                    <a:pt x="248" y="920"/>
                    <a:pt x="317" y="941"/>
                  </a:cubicBezTo>
                  <a:cubicBezTo>
                    <a:pt x="317" y="944"/>
                    <a:pt x="316" y="947"/>
                    <a:pt x="316" y="949"/>
                  </a:cubicBezTo>
                  <a:cubicBezTo>
                    <a:pt x="314" y="949"/>
                    <a:pt x="313" y="950"/>
                    <a:pt x="311" y="950"/>
                  </a:cubicBezTo>
                  <a:cubicBezTo>
                    <a:pt x="303" y="952"/>
                    <a:pt x="296" y="961"/>
                    <a:pt x="291" y="967"/>
                  </a:cubicBezTo>
                  <a:cubicBezTo>
                    <a:pt x="284" y="975"/>
                    <a:pt x="278" y="984"/>
                    <a:pt x="273" y="993"/>
                  </a:cubicBezTo>
                  <a:cubicBezTo>
                    <a:pt x="269" y="999"/>
                    <a:pt x="266" y="1005"/>
                    <a:pt x="265" y="1011"/>
                  </a:cubicBezTo>
                  <a:cubicBezTo>
                    <a:pt x="264" y="1012"/>
                    <a:pt x="264" y="1013"/>
                    <a:pt x="264" y="1014"/>
                  </a:cubicBezTo>
                  <a:cubicBezTo>
                    <a:pt x="264" y="1017"/>
                    <a:pt x="264" y="1019"/>
                    <a:pt x="264" y="1021"/>
                  </a:cubicBezTo>
                  <a:cubicBezTo>
                    <a:pt x="264" y="1021"/>
                    <a:pt x="264" y="1021"/>
                    <a:pt x="264" y="1021"/>
                  </a:cubicBezTo>
                  <a:cubicBezTo>
                    <a:pt x="222" y="1040"/>
                    <a:pt x="178" y="1053"/>
                    <a:pt x="135" y="1071"/>
                  </a:cubicBezTo>
                  <a:cubicBezTo>
                    <a:pt x="99" y="1085"/>
                    <a:pt x="64" y="1104"/>
                    <a:pt x="44" y="1138"/>
                  </a:cubicBezTo>
                  <a:cubicBezTo>
                    <a:pt x="44" y="1138"/>
                    <a:pt x="45" y="1139"/>
                    <a:pt x="45" y="1139"/>
                  </a:cubicBezTo>
                  <a:cubicBezTo>
                    <a:pt x="110" y="1087"/>
                    <a:pt x="193" y="1070"/>
                    <a:pt x="267" y="1038"/>
                  </a:cubicBezTo>
                  <a:cubicBezTo>
                    <a:pt x="271" y="1054"/>
                    <a:pt x="277" y="1070"/>
                    <a:pt x="283" y="1084"/>
                  </a:cubicBezTo>
                  <a:cubicBezTo>
                    <a:pt x="299" y="1121"/>
                    <a:pt x="316" y="1165"/>
                    <a:pt x="346" y="1193"/>
                  </a:cubicBezTo>
                  <a:cubicBezTo>
                    <a:pt x="347" y="1194"/>
                    <a:pt x="349" y="1193"/>
                    <a:pt x="348" y="1192"/>
                  </a:cubicBezTo>
                  <a:cubicBezTo>
                    <a:pt x="342" y="1177"/>
                    <a:pt x="332" y="1164"/>
                    <a:pt x="326" y="1149"/>
                  </a:cubicBezTo>
                  <a:cubicBezTo>
                    <a:pt x="315" y="1126"/>
                    <a:pt x="306" y="1102"/>
                    <a:pt x="298" y="1077"/>
                  </a:cubicBezTo>
                  <a:cubicBezTo>
                    <a:pt x="291" y="1056"/>
                    <a:pt x="286" y="1031"/>
                    <a:pt x="277" y="1011"/>
                  </a:cubicBezTo>
                  <a:cubicBezTo>
                    <a:pt x="277" y="1010"/>
                    <a:pt x="276" y="1010"/>
                    <a:pt x="276" y="1010"/>
                  </a:cubicBezTo>
                  <a:cubicBezTo>
                    <a:pt x="282" y="1002"/>
                    <a:pt x="287" y="993"/>
                    <a:pt x="293" y="986"/>
                  </a:cubicBezTo>
                  <a:cubicBezTo>
                    <a:pt x="298" y="980"/>
                    <a:pt x="304" y="974"/>
                    <a:pt x="310" y="969"/>
                  </a:cubicBezTo>
                  <a:cubicBezTo>
                    <a:pt x="314" y="965"/>
                    <a:pt x="315" y="966"/>
                    <a:pt x="319" y="966"/>
                  </a:cubicBezTo>
                  <a:cubicBezTo>
                    <a:pt x="323" y="980"/>
                    <a:pt x="332" y="993"/>
                    <a:pt x="341" y="1003"/>
                  </a:cubicBezTo>
                  <a:cubicBezTo>
                    <a:pt x="355" y="1019"/>
                    <a:pt x="392" y="1053"/>
                    <a:pt x="416" y="1039"/>
                  </a:cubicBezTo>
                  <a:cubicBezTo>
                    <a:pt x="416" y="1039"/>
                    <a:pt x="417" y="1037"/>
                    <a:pt x="416" y="1037"/>
                  </a:cubicBezTo>
                  <a:cubicBezTo>
                    <a:pt x="411" y="1029"/>
                    <a:pt x="403" y="1027"/>
                    <a:pt x="395" y="1023"/>
                  </a:cubicBezTo>
                  <a:cubicBezTo>
                    <a:pt x="382" y="1018"/>
                    <a:pt x="371" y="1009"/>
                    <a:pt x="361" y="1000"/>
                  </a:cubicBezTo>
                  <a:cubicBezTo>
                    <a:pt x="352" y="991"/>
                    <a:pt x="343" y="980"/>
                    <a:pt x="336" y="969"/>
                  </a:cubicBezTo>
                  <a:cubicBezTo>
                    <a:pt x="332" y="961"/>
                    <a:pt x="331" y="953"/>
                    <a:pt x="330" y="945"/>
                  </a:cubicBezTo>
                  <a:cubicBezTo>
                    <a:pt x="359" y="952"/>
                    <a:pt x="390" y="957"/>
                    <a:pt x="420" y="958"/>
                  </a:cubicBezTo>
                  <a:cubicBezTo>
                    <a:pt x="474" y="960"/>
                    <a:pt x="528" y="952"/>
                    <a:pt x="576" y="932"/>
                  </a:cubicBezTo>
                  <a:cubicBezTo>
                    <a:pt x="576" y="937"/>
                    <a:pt x="577" y="942"/>
                    <a:pt x="578" y="947"/>
                  </a:cubicBezTo>
                  <a:cubicBezTo>
                    <a:pt x="578" y="953"/>
                    <a:pt x="577" y="960"/>
                    <a:pt x="578" y="966"/>
                  </a:cubicBezTo>
                  <a:cubicBezTo>
                    <a:pt x="574" y="982"/>
                    <a:pt x="565" y="996"/>
                    <a:pt x="554" y="1010"/>
                  </a:cubicBezTo>
                  <a:cubicBezTo>
                    <a:pt x="544" y="1022"/>
                    <a:pt x="531" y="1031"/>
                    <a:pt x="522" y="1045"/>
                  </a:cubicBezTo>
                  <a:cubicBezTo>
                    <a:pt x="522" y="1045"/>
                    <a:pt x="523" y="1046"/>
                    <a:pt x="523" y="1046"/>
                  </a:cubicBezTo>
                  <a:cubicBezTo>
                    <a:pt x="559" y="1039"/>
                    <a:pt x="590" y="994"/>
                    <a:pt x="597" y="960"/>
                  </a:cubicBezTo>
                  <a:cubicBezTo>
                    <a:pt x="597" y="960"/>
                    <a:pt x="597" y="959"/>
                    <a:pt x="598" y="959"/>
                  </a:cubicBezTo>
                  <a:cubicBezTo>
                    <a:pt x="605" y="962"/>
                    <a:pt x="612" y="964"/>
                    <a:pt x="620" y="968"/>
                  </a:cubicBezTo>
                  <a:cubicBezTo>
                    <a:pt x="632" y="975"/>
                    <a:pt x="637" y="989"/>
                    <a:pt x="646" y="999"/>
                  </a:cubicBezTo>
                  <a:cubicBezTo>
                    <a:pt x="645" y="1007"/>
                    <a:pt x="645" y="1016"/>
                    <a:pt x="645" y="1026"/>
                  </a:cubicBezTo>
                  <a:cubicBezTo>
                    <a:pt x="646" y="1044"/>
                    <a:pt x="644" y="1062"/>
                    <a:pt x="643" y="1080"/>
                  </a:cubicBezTo>
                  <a:cubicBezTo>
                    <a:pt x="640" y="1120"/>
                    <a:pt x="629" y="1156"/>
                    <a:pt x="619" y="1195"/>
                  </a:cubicBezTo>
                  <a:cubicBezTo>
                    <a:pt x="618" y="1197"/>
                    <a:pt x="621" y="1198"/>
                    <a:pt x="622" y="1197"/>
                  </a:cubicBezTo>
                  <a:cubicBezTo>
                    <a:pt x="643" y="1172"/>
                    <a:pt x="649" y="1131"/>
                    <a:pt x="655" y="1100"/>
                  </a:cubicBezTo>
                  <a:cubicBezTo>
                    <a:pt x="659" y="1078"/>
                    <a:pt x="665" y="1045"/>
                    <a:pt x="662" y="1018"/>
                  </a:cubicBezTo>
                  <a:cubicBezTo>
                    <a:pt x="672" y="1022"/>
                    <a:pt x="683" y="1024"/>
                    <a:pt x="692" y="1028"/>
                  </a:cubicBezTo>
                  <a:cubicBezTo>
                    <a:pt x="712" y="1035"/>
                    <a:pt x="732" y="1044"/>
                    <a:pt x="751" y="1051"/>
                  </a:cubicBezTo>
                  <a:cubicBezTo>
                    <a:pt x="772" y="1059"/>
                    <a:pt x="792" y="1065"/>
                    <a:pt x="812" y="1073"/>
                  </a:cubicBezTo>
                  <a:cubicBezTo>
                    <a:pt x="837" y="1082"/>
                    <a:pt x="860" y="1095"/>
                    <a:pt x="884" y="1106"/>
                  </a:cubicBezTo>
                  <a:cubicBezTo>
                    <a:pt x="886" y="1108"/>
                    <a:pt x="890" y="1105"/>
                    <a:pt x="888" y="1102"/>
                  </a:cubicBezTo>
                  <a:cubicBezTo>
                    <a:pt x="862" y="1068"/>
                    <a:pt x="812" y="1055"/>
                    <a:pt x="773" y="104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49" name="Google Shape;285;p3">
              <a:extLst>
                <a:ext uri="{FF2B5EF4-FFF2-40B4-BE49-F238E27FC236}">
                  <a16:creationId xmlns:a16="http://schemas.microsoft.com/office/drawing/2014/main" id="{0D8DA1BE-2FD4-C3F6-D042-BD0692CDD9FF}"/>
                </a:ext>
              </a:extLst>
            </p:cNvPr>
            <p:cNvSpPr/>
            <p:nvPr/>
          </p:nvSpPr>
          <p:spPr>
            <a:xfrm>
              <a:off x="5668963" y="3206751"/>
              <a:ext cx="158750" cy="458788"/>
            </a:xfrm>
            <a:custGeom>
              <a:avLst/>
              <a:gdLst/>
              <a:ahLst/>
              <a:cxnLst/>
              <a:rect l="l" t="t" r="r" b="b"/>
              <a:pathLst>
                <a:path w="94" h="273" extrusionOk="0">
                  <a:moveTo>
                    <a:pt x="85" y="235"/>
                  </a:moveTo>
                  <a:cubicBezTo>
                    <a:pt x="78" y="206"/>
                    <a:pt x="71" y="177"/>
                    <a:pt x="63" y="149"/>
                  </a:cubicBezTo>
                  <a:cubicBezTo>
                    <a:pt x="55" y="120"/>
                    <a:pt x="45" y="92"/>
                    <a:pt x="34" y="64"/>
                  </a:cubicBezTo>
                  <a:cubicBezTo>
                    <a:pt x="26" y="42"/>
                    <a:pt x="18" y="17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2" y="26"/>
                    <a:pt x="16" y="52"/>
                    <a:pt x="23" y="76"/>
                  </a:cubicBezTo>
                  <a:cubicBezTo>
                    <a:pt x="32" y="105"/>
                    <a:pt x="40" y="133"/>
                    <a:pt x="47" y="162"/>
                  </a:cubicBezTo>
                  <a:cubicBezTo>
                    <a:pt x="55" y="191"/>
                    <a:pt x="61" y="220"/>
                    <a:pt x="68" y="248"/>
                  </a:cubicBezTo>
                  <a:cubicBezTo>
                    <a:pt x="70" y="256"/>
                    <a:pt x="70" y="264"/>
                    <a:pt x="71" y="273"/>
                  </a:cubicBezTo>
                  <a:cubicBezTo>
                    <a:pt x="94" y="273"/>
                    <a:pt x="94" y="273"/>
                    <a:pt x="94" y="273"/>
                  </a:cubicBezTo>
                  <a:cubicBezTo>
                    <a:pt x="91" y="259"/>
                    <a:pt x="88" y="246"/>
                    <a:pt x="85" y="23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0" name="Google Shape;286;p3">
              <a:extLst>
                <a:ext uri="{FF2B5EF4-FFF2-40B4-BE49-F238E27FC236}">
                  <a16:creationId xmlns:a16="http://schemas.microsoft.com/office/drawing/2014/main" id="{051F2F72-926A-0241-5521-D5529DBE5EB8}"/>
                </a:ext>
              </a:extLst>
            </p:cNvPr>
            <p:cNvSpPr/>
            <p:nvPr/>
          </p:nvSpPr>
          <p:spPr>
            <a:xfrm>
              <a:off x="5567363" y="3398838"/>
              <a:ext cx="57150" cy="266700"/>
            </a:xfrm>
            <a:custGeom>
              <a:avLst/>
              <a:gdLst/>
              <a:ahLst/>
              <a:cxnLst/>
              <a:rect l="l" t="t" r="r" b="b"/>
              <a:pathLst>
                <a:path w="34" h="159" extrusionOk="0">
                  <a:moveTo>
                    <a:pt x="16" y="46"/>
                  </a:moveTo>
                  <a:cubicBezTo>
                    <a:pt x="16" y="30"/>
                    <a:pt x="21" y="16"/>
                    <a:pt x="16" y="1"/>
                  </a:cubicBezTo>
                  <a:cubicBezTo>
                    <a:pt x="16" y="0"/>
                    <a:pt x="15" y="0"/>
                    <a:pt x="14" y="1"/>
                  </a:cubicBezTo>
                  <a:cubicBezTo>
                    <a:pt x="1" y="29"/>
                    <a:pt x="0" y="59"/>
                    <a:pt x="3" y="90"/>
                  </a:cubicBezTo>
                  <a:cubicBezTo>
                    <a:pt x="5" y="105"/>
                    <a:pt x="8" y="121"/>
                    <a:pt x="11" y="136"/>
                  </a:cubicBezTo>
                  <a:cubicBezTo>
                    <a:pt x="12" y="144"/>
                    <a:pt x="13" y="151"/>
                    <a:pt x="15" y="159"/>
                  </a:cubicBezTo>
                  <a:cubicBezTo>
                    <a:pt x="34" y="159"/>
                    <a:pt x="34" y="159"/>
                    <a:pt x="34" y="159"/>
                  </a:cubicBezTo>
                  <a:cubicBezTo>
                    <a:pt x="33" y="138"/>
                    <a:pt x="25" y="115"/>
                    <a:pt x="21" y="96"/>
                  </a:cubicBezTo>
                  <a:cubicBezTo>
                    <a:pt x="18" y="80"/>
                    <a:pt x="17" y="63"/>
                    <a:pt x="16" y="4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1" name="Google Shape;287;p3">
              <a:extLst>
                <a:ext uri="{FF2B5EF4-FFF2-40B4-BE49-F238E27FC236}">
                  <a16:creationId xmlns:a16="http://schemas.microsoft.com/office/drawing/2014/main" id="{0828269D-9624-BA52-4BC3-A5E6859014A8}"/>
                </a:ext>
              </a:extLst>
            </p:cNvPr>
            <p:cNvSpPr/>
            <p:nvPr/>
          </p:nvSpPr>
          <p:spPr>
            <a:xfrm>
              <a:off x="4778375" y="3065463"/>
              <a:ext cx="430213" cy="600075"/>
            </a:xfrm>
            <a:custGeom>
              <a:avLst/>
              <a:gdLst/>
              <a:ahLst/>
              <a:cxnLst/>
              <a:rect l="l" t="t" r="r" b="b"/>
              <a:pathLst>
                <a:path w="255" h="357" extrusionOk="0">
                  <a:moveTo>
                    <a:pt x="228" y="268"/>
                  </a:moveTo>
                  <a:cubicBezTo>
                    <a:pt x="216" y="238"/>
                    <a:pt x="201" y="199"/>
                    <a:pt x="172" y="180"/>
                  </a:cubicBezTo>
                  <a:cubicBezTo>
                    <a:pt x="176" y="176"/>
                    <a:pt x="179" y="172"/>
                    <a:pt x="179" y="167"/>
                  </a:cubicBezTo>
                  <a:cubicBezTo>
                    <a:pt x="179" y="153"/>
                    <a:pt x="161" y="169"/>
                    <a:pt x="157" y="171"/>
                  </a:cubicBezTo>
                  <a:cubicBezTo>
                    <a:pt x="139" y="183"/>
                    <a:pt x="117" y="184"/>
                    <a:pt x="97" y="186"/>
                  </a:cubicBezTo>
                  <a:cubicBezTo>
                    <a:pt x="97" y="186"/>
                    <a:pt x="97" y="186"/>
                    <a:pt x="97" y="186"/>
                  </a:cubicBezTo>
                  <a:cubicBezTo>
                    <a:pt x="77" y="172"/>
                    <a:pt x="64" y="151"/>
                    <a:pt x="52" y="129"/>
                  </a:cubicBezTo>
                  <a:cubicBezTo>
                    <a:pt x="45" y="117"/>
                    <a:pt x="40" y="98"/>
                    <a:pt x="31" y="85"/>
                  </a:cubicBezTo>
                  <a:cubicBezTo>
                    <a:pt x="36" y="66"/>
                    <a:pt x="42" y="48"/>
                    <a:pt x="50" y="30"/>
                  </a:cubicBezTo>
                  <a:cubicBezTo>
                    <a:pt x="76" y="26"/>
                    <a:pt x="99" y="22"/>
                    <a:pt x="125" y="23"/>
                  </a:cubicBezTo>
                  <a:cubicBezTo>
                    <a:pt x="136" y="23"/>
                    <a:pt x="148" y="29"/>
                    <a:pt x="158" y="29"/>
                  </a:cubicBezTo>
                  <a:cubicBezTo>
                    <a:pt x="159" y="29"/>
                    <a:pt x="161" y="28"/>
                    <a:pt x="162" y="28"/>
                  </a:cubicBezTo>
                  <a:cubicBezTo>
                    <a:pt x="171" y="37"/>
                    <a:pt x="185" y="51"/>
                    <a:pt x="188" y="54"/>
                  </a:cubicBezTo>
                  <a:cubicBezTo>
                    <a:pt x="193" y="62"/>
                    <a:pt x="199" y="69"/>
                    <a:pt x="204" y="77"/>
                  </a:cubicBezTo>
                  <a:cubicBezTo>
                    <a:pt x="202" y="78"/>
                    <a:pt x="201" y="80"/>
                    <a:pt x="201" y="83"/>
                  </a:cubicBezTo>
                  <a:cubicBezTo>
                    <a:pt x="202" y="94"/>
                    <a:pt x="199" y="105"/>
                    <a:pt x="195" y="115"/>
                  </a:cubicBezTo>
                  <a:cubicBezTo>
                    <a:pt x="190" y="126"/>
                    <a:pt x="186" y="137"/>
                    <a:pt x="180" y="148"/>
                  </a:cubicBezTo>
                  <a:cubicBezTo>
                    <a:pt x="180" y="148"/>
                    <a:pt x="181" y="149"/>
                    <a:pt x="181" y="148"/>
                  </a:cubicBezTo>
                  <a:cubicBezTo>
                    <a:pt x="199" y="139"/>
                    <a:pt x="212" y="118"/>
                    <a:pt x="216" y="97"/>
                  </a:cubicBezTo>
                  <a:cubicBezTo>
                    <a:pt x="229" y="124"/>
                    <a:pt x="237" y="152"/>
                    <a:pt x="244" y="180"/>
                  </a:cubicBezTo>
                  <a:cubicBezTo>
                    <a:pt x="245" y="184"/>
                    <a:pt x="250" y="182"/>
                    <a:pt x="250" y="179"/>
                  </a:cubicBezTo>
                  <a:cubicBezTo>
                    <a:pt x="245" y="143"/>
                    <a:pt x="235" y="112"/>
                    <a:pt x="220" y="79"/>
                  </a:cubicBezTo>
                  <a:cubicBezTo>
                    <a:pt x="207" y="53"/>
                    <a:pt x="194" y="25"/>
                    <a:pt x="164" y="16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64" y="15"/>
                    <a:pt x="163" y="14"/>
                    <a:pt x="162" y="14"/>
                  </a:cubicBezTo>
                  <a:cubicBezTo>
                    <a:pt x="138" y="3"/>
                    <a:pt x="84" y="0"/>
                    <a:pt x="57" y="17"/>
                  </a:cubicBezTo>
                  <a:cubicBezTo>
                    <a:pt x="57" y="16"/>
                    <a:pt x="56" y="16"/>
                    <a:pt x="56" y="16"/>
                  </a:cubicBezTo>
                  <a:cubicBezTo>
                    <a:pt x="34" y="20"/>
                    <a:pt x="26" y="54"/>
                    <a:pt x="21" y="72"/>
                  </a:cubicBezTo>
                  <a:cubicBezTo>
                    <a:pt x="16" y="91"/>
                    <a:pt x="12" y="110"/>
                    <a:pt x="9" y="130"/>
                  </a:cubicBezTo>
                  <a:cubicBezTo>
                    <a:pt x="6" y="147"/>
                    <a:pt x="0" y="163"/>
                    <a:pt x="4" y="180"/>
                  </a:cubicBezTo>
                  <a:cubicBezTo>
                    <a:pt x="4" y="181"/>
                    <a:pt x="6" y="181"/>
                    <a:pt x="6" y="180"/>
                  </a:cubicBezTo>
                  <a:cubicBezTo>
                    <a:pt x="18" y="160"/>
                    <a:pt x="21" y="133"/>
                    <a:pt x="26" y="109"/>
                  </a:cubicBezTo>
                  <a:cubicBezTo>
                    <a:pt x="30" y="122"/>
                    <a:pt x="37" y="134"/>
                    <a:pt x="41" y="143"/>
                  </a:cubicBezTo>
                  <a:cubicBezTo>
                    <a:pt x="52" y="165"/>
                    <a:pt x="67" y="189"/>
                    <a:pt x="87" y="203"/>
                  </a:cubicBezTo>
                  <a:cubicBezTo>
                    <a:pt x="88" y="203"/>
                    <a:pt x="88" y="203"/>
                    <a:pt x="88" y="203"/>
                  </a:cubicBezTo>
                  <a:cubicBezTo>
                    <a:pt x="71" y="230"/>
                    <a:pt x="64" y="263"/>
                    <a:pt x="56" y="293"/>
                  </a:cubicBezTo>
                  <a:cubicBezTo>
                    <a:pt x="52" y="309"/>
                    <a:pt x="39" y="335"/>
                    <a:pt x="36" y="357"/>
                  </a:cubicBezTo>
                  <a:cubicBezTo>
                    <a:pt x="51" y="357"/>
                    <a:pt x="51" y="357"/>
                    <a:pt x="51" y="357"/>
                  </a:cubicBezTo>
                  <a:cubicBezTo>
                    <a:pt x="51" y="355"/>
                    <a:pt x="51" y="354"/>
                    <a:pt x="51" y="353"/>
                  </a:cubicBezTo>
                  <a:cubicBezTo>
                    <a:pt x="55" y="336"/>
                    <a:pt x="61" y="321"/>
                    <a:pt x="67" y="305"/>
                  </a:cubicBezTo>
                  <a:cubicBezTo>
                    <a:pt x="79" y="269"/>
                    <a:pt x="97" y="237"/>
                    <a:pt x="110" y="203"/>
                  </a:cubicBezTo>
                  <a:cubicBezTo>
                    <a:pt x="121" y="202"/>
                    <a:pt x="131" y="200"/>
                    <a:pt x="140" y="197"/>
                  </a:cubicBezTo>
                  <a:cubicBezTo>
                    <a:pt x="140" y="198"/>
                    <a:pt x="141" y="199"/>
                    <a:pt x="141" y="200"/>
                  </a:cubicBezTo>
                  <a:cubicBezTo>
                    <a:pt x="145" y="209"/>
                    <a:pt x="152" y="216"/>
                    <a:pt x="158" y="225"/>
                  </a:cubicBezTo>
                  <a:cubicBezTo>
                    <a:pt x="164" y="233"/>
                    <a:pt x="170" y="241"/>
                    <a:pt x="178" y="249"/>
                  </a:cubicBezTo>
                  <a:cubicBezTo>
                    <a:pt x="178" y="249"/>
                    <a:pt x="178" y="249"/>
                    <a:pt x="178" y="248"/>
                  </a:cubicBezTo>
                  <a:cubicBezTo>
                    <a:pt x="176" y="240"/>
                    <a:pt x="173" y="232"/>
                    <a:pt x="169" y="224"/>
                  </a:cubicBezTo>
                  <a:cubicBezTo>
                    <a:pt x="165" y="214"/>
                    <a:pt x="163" y="204"/>
                    <a:pt x="159" y="195"/>
                  </a:cubicBezTo>
                  <a:cubicBezTo>
                    <a:pt x="158" y="193"/>
                    <a:pt x="157" y="192"/>
                    <a:pt x="156" y="191"/>
                  </a:cubicBezTo>
                  <a:cubicBezTo>
                    <a:pt x="157" y="190"/>
                    <a:pt x="159" y="189"/>
                    <a:pt x="160" y="188"/>
                  </a:cubicBezTo>
                  <a:cubicBezTo>
                    <a:pt x="168" y="202"/>
                    <a:pt x="179" y="215"/>
                    <a:pt x="188" y="228"/>
                  </a:cubicBezTo>
                  <a:cubicBezTo>
                    <a:pt x="200" y="247"/>
                    <a:pt x="209" y="267"/>
                    <a:pt x="217" y="287"/>
                  </a:cubicBezTo>
                  <a:cubicBezTo>
                    <a:pt x="223" y="303"/>
                    <a:pt x="228" y="319"/>
                    <a:pt x="233" y="335"/>
                  </a:cubicBezTo>
                  <a:cubicBezTo>
                    <a:pt x="235" y="342"/>
                    <a:pt x="237" y="350"/>
                    <a:pt x="239" y="357"/>
                  </a:cubicBezTo>
                  <a:cubicBezTo>
                    <a:pt x="255" y="357"/>
                    <a:pt x="255" y="357"/>
                    <a:pt x="255" y="357"/>
                  </a:cubicBezTo>
                  <a:cubicBezTo>
                    <a:pt x="254" y="348"/>
                    <a:pt x="250" y="339"/>
                    <a:pt x="248" y="331"/>
                  </a:cubicBezTo>
                  <a:cubicBezTo>
                    <a:pt x="243" y="310"/>
                    <a:pt x="236" y="289"/>
                    <a:pt x="228" y="26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2" name="Google Shape;288;p3">
              <a:extLst>
                <a:ext uri="{FF2B5EF4-FFF2-40B4-BE49-F238E27FC236}">
                  <a16:creationId xmlns:a16="http://schemas.microsoft.com/office/drawing/2014/main" id="{3C9CDE92-F5BD-BB65-78DB-B0457FDFC638}"/>
                </a:ext>
              </a:extLst>
            </p:cNvPr>
            <p:cNvSpPr/>
            <p:nvPr/>
          </p:nvSpPr>
          <p:spPr>
            <a:xfrm>
              <a:off x="4808538" y="2200276"/>
              <a:ext cx="265113" cy="73025"/>
            </a:xfrm>
            <a:custGeom>
              <a:avLst/>
              <a:gdLst/>
              <a:ahLst/>
              <a:cxnLst/>
              <a:rect l="l" t="t" r="r" b="b"/>
              <a:pathLst>
                <a:path w="157" h="44" extrusionOk="0">
                  <a:moveTo>
                    <a:pt x="156" y="8"/>
                  </a:moveTo>
                  <a:cubicBezTo>
                    <a:pt x="157" y="7"/>
                    <a:pt x="155" y="6"/>
                    <a:pt x="155" y="7"/>
                  </a:cubicBezTo>
                  <a:cubicBezTo>
                    <a:pt x="131" y="25"/>
                    <a:pt x="105" y="27"/>
                    <a:pt x="76" y="26"/>
                  </a:cubicBezTo>
                  <a:cubicBezTo>
                    <a:pt x="57" y="25"/>
                    <a:pt x="26" y="25"/>
                    <a:pt x="14" y="6"/>
                  </a:cubicBezTo>
                  <a:cubicBezTo>
                    <a:pt x="11" y="0"/>
                    <a:pt x="0" y="3"/>
                    <a:pt x="1" y="10"/>
                  </a:cubicBezTo>
                  <a:cubicBezTo>
                    <a:pt x="1" y="40"/>
                    <a:pt x="43" y="44"/>
                    <a:pt x="65" y="43"/>
                  </a:cubicBezTo>
                  <a:cubicBezTo>
                    <a:pt x="94" y="43"/>
                    <a:pt x="138" y="31"/>
                    <a:pt x="156" y="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3" name="Google Shape;289;p3">
              <a:extLst>
                <a:ext uri="{FF2B5EF4-FFF2-40B4-BE49-F238E27FC236}">
                  <a16:creationId xmlns:a16="http://schemas.microsoft.com/office/drawing/2014/main" id="{AC510E21-8376-CE95-15AB-EF4978E005D4}"/>
                </a:ext>
              </a:extLst>
            </p:cNvPr>
            <p:cNvSpPr/>
            <p:nvPr/>
          </p:nvSpPr>
          <p:spPr>
            <a:xfrm>
              <a:off x="4873625" y="2468563"/>
              <a:ext cx="128588" cy="149225"/>
            </a:xfrm>
            <a:custGeom>
              <a:avLst/>
              <a:gdLst/>
              <a:ahLst/>
              <a:cxnLst/>
              <a:rect l="l" t="t" r="r" b="b"/>
              <a:pathLst>
                <a:path w="77" h="89" extrusionOk="0">
                  <a:moveTo>
                    <a:pt x="63" y="66"/>
                  </a:moveTo>
                  <a:cubicBezTo>
                    <a:pt x="74" y="51"/>
                    <a:pt x="77" y="26"/>
                    <a:pt x="64" y="11"/>
                  </a:cubicBezTo>
                  <a:cubicBezTo>
                    <a:pt x="58" y="3"/>
                    <a:pt x="49" y="0"/>
                    <a:pt x="39" y="1"/>
                  </a:cubicBezTo>
                  <a:cubicBezTo>
                    <a:pt x="31" y="2"/>
                    <a:pt x="22" y="6"/>
                    <a:pt x="18" y="13"/>
                  </a:cubicBezTo>
                  <a:cubicBezTo>
                    <a:pt x="0" y="26"/>
                    <a:pt x="0" y="58"/>
                    <a:pt x="15" y="73"/>
                  </a:cubicBezTo>
                  <a:cubicBezTo>
                    <a:pt x="30" y="89"/>
                    <a:pt x="51" y="83"/>
                    <a:pt x="63" y="66"/>
                  </a:cubicBezTo>
                  <a:close/>
                  <a:moveTo>
                    <a:pt x="17" y="25"/>
                  </a:moveTo>
                  <a:cubicBezTo>
                    <a:pt x="18" y="25"/>
                    <a:pt x="18" y="25"/>
                    <a:pt x="19" y="24"/>
                  </a:cubicBezTo>
                  <a:cubicBezTo>
                    <a:pt x="28" y="12"/>
                    <a:pt x="49" y="9"/>
                    <a:pt x="54" y="26"/>
                  </a:cubicBezTo>
                  <a:cubicBezTo>
                    <a:pt x="57" y="35"/>
                    <a:pt x="53" y="47"/>
                    <a:pt x="49" y="56"/>
                  </a:cubicBezTo>
                  <a:cubicBezTo>
                    <a:pt x="44" y="64"/>
                    <a:pt x="37" y="68"/>
                    <a:pt x="28" y="63"/>
                  </a:cubicBezTo>
                  <a:cubicBezTo>
                    <a:pt x="17" y="56"/>
                    <a:pt x="14" y="39"/>
                    <a:pt x="17" y="2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4" name="Google Shape;290;p3">
              <a:extLst>
                <a:ext uri="{FF2B5EF4-FFF2-40B4-BE49-F238E27FC236}">
                  <a16:creationId xmlns:a16="http://schemas.microsoft.com/office/drawing/2014/main" id="{EDB97C24-790E-FF86-5167-821D264AAEA1}"/>
                </a:ext>
              </a:extLst>
            </p:cNvPr>
            <p:cNvSpPr/>
            <p:nvPr/>
          </p:nvSpPr>
          <p:spPr>
            <a:xfrm>
              <a:off x="4895850" y="2614613"/>
              <a:ext cx="103188" cy="53975"/>
            </a:xfrm>
            <a:custGeom>
              <a:avLst/>
              <a:gdLst/>
              <a:ahLst/>
              <a:cxnLst/>
              <a:rect l="l" t="t" r="r" b="b"/>
              <a:pathLst>
                <a:path w="61" h="32" extrusionOk="0">
                  <a:moveTo>
                    <a:pt x="26" y="30"/>
                  </a:moveTo>
                  <a:cubicBezTo>
                    <a:pt x="37" y="27"/>
                    <a:pt x="61" y="16"/>
                    <a:pt x="59" y="2"/>
                  </a:cubicBezTo>
                  <a:cubicBezTo>
                    <a:pt x="59" y="1"/>
                    <a:pt x="58" y="0"/>
                    <a:pt x="57" y="0"/>
                  </a:cubicBezTo>
                  <a:cubicBezTo>
                    <a:pt x="48" y="2"/>
                    <a:pt x="41" y="11"/>
                    <a:pt x="33" y="15"/>
                  </a:cubicBezTo>
                  <a:cubicBezTo>
                    <a:pt x="21" y="22"/>
                    <a:pt x="9" y="24"/>
                    <a:pt x="1" y="12"/>
                  </a:cubicBezTo>
                  <a:cubicBezTo>
                    <a:pt x="1" y="11"/>
                    <a:pt x="0" y="11"/>
                    <a:pt x="0" y="12"/>
                  </a:cubicBezTo>
                  <a:cubicBezTo>
                    <a:pt x="0" y="28"/>
                    <a:pt x="13" y="32"/>
                    <a:pt x="26" y="3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5" name="Google Shape;291;p3">
              <a:extLst>
                <a:ext uri="{FF2B5EF4-FFF2-40B4-BE49-F238E27FC236}">
                  <a16:creationId xmlns:a16="http://schemas.microsoft.com/office/drawing/2014/main" id="{D25107D8-F1C0-FDA7-5DE7-25AB203E11DD}"/>
                </a:ext>
              </a:extLst>
            </p:cNvPr>
            <p:cNvSpPr/>
            <p:nvPr/>
          </p:nvSpPr>
          <p:spPr>
            <a:xfrm>
              <a:off x="4614863" y="1712913"/>
              <a:ext cx="184150" cy="106363"/>
            </a:xfrm>
            <a:custGeom>
              <a:avLst/>
              <a:gdLst/>
              <a:ahLst/>
              <a:cxnLst/>
              <a:rect l="l" t="t" r="r" b="b"/>
              <a:pathLst>
                <a:path w="109" h="64" extrusionOk="0">
                  <a:moveTo>
                    <a:pt x="27" y="49"/>
                  </a:moveTo>
                  <a:cubicBezTo>
                    <a:pt x="34" y="42"/>
                    <a:pt x="42" y="36"/>
                    <a:pt x="51" y="31"/>
                  </a:cubicBezTo>
                  <a:cubicBezTo>
                    <a:pt x="61" y="26"/>
                    <a:pt x="73" y="24"/>
                    <a:pt x="83" y="26"/>
                  </a:cubicBezTo>
                  <a:cubicBezTo>
                    <a:pt x="92" y="27"/>
                    <a:pt x="97" y="32"/>
                    <a:pt x="106" y="31"/>
                  </a:cubicBezTo>
                  <a:cubicBezTo>
                    <a:pt x="107" y="31"/>
                    <a:pt x="108" y="29"/>
                    <a:pt x="108" y="27"/>
                  </a:cubicBezTo>
                  <a:cubicBezTo>
                    <a:pt x="109" y="0"/>
                    <a:pt x="64" y="7"/>
                    <a:pt x="49" y="14"/>
                  </a:cubicBezTo>
                  <a:cubicBezTo>
                    <a:pt x="34" y="20"/>
                    <a:pt x="0" y="44"/>
                    <a:pt x="10" y="63"/>
                  </a:cubicBezTo>
                  <a:cubicBezTo>
                    <a:pt x="10" y="64"/>
                    <a:pt x="12" y="64"/>
                    <a:pt x="13" y="64"/>
                  </a:cubicBezTo>
                  <a:cubicBezTo>
                    <a:pt x="19" y="61"/>
                    <a:pt x="23" y="54"/>
                    <a:pt x="27" y="4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6" name="Google Shape;292;p3">
              <a:extLst>
                <a:ext uri="{FF2B5EF4-FFF2-40B4-BE49-F238E27FC236}">
                  <a16:creationId xmlns:a16="http://schemas.microsoft.com/office/drawing/2014/main" id="{F37CB740-B99B-519A-A51E-8EB0E5E7BFFA}"/>
                </a:ext>
              </a:extLst>
            </p:cNvPr>
            <p:cNvSpPr/>
            <p:nvPr/>
          </p:nvSpPr>
          <p:spPr>
            <a:xfrm>
              <a:off x="5026025" y="1720851"/>
              <a:ext cx="166688" cy="95250"/>
            </a:xfrm>
            <a:custGeom>
              <a:avLst/>
              <a:gdLst/>
              <a:ahLst/>
              <a:cxnLst/>
              <a:rect l="l" t="t" r="r" b="b"/>
              <a:pathLst>
                <a:path w="99" h="57" extrusionOk="0">
                  <a:moveTo>
                    <a:pt x="63" y="32"/>
                  </a:moveTo>
                  <a:cubicBezTo>
                    <a:pt x="72" y="37"/>
                    <a:pt x="76" y="46"/>
                    <a:pt x="83" y="52"/>
                  </a:cubicBezTo>
                  <a:cubicBezTo>
                    <a:pt x="89" y="57"/>
                    <a:pt x="99" y="54"/>
                    <a:pt x="99" y="46"/>
                  </a:cubicBezTo>
                  <a:cubicBezTo>
                    <a:pt x="97" y="24"/>
                    <a:pt x="71" y="10"/>
                    <a:pt x="51" y="6"/>
                  </a:cubicBezTo>
                  <a:cubicBezTo>
                    <a:pt x="39" y="3"/>
                    <a:pt x="6" y="0"/>
                    <a:pt x="0" y="15"/>
                  </a:cubicBezTo>
                  <a:cubicBezTo>
                    <a:pt x="0" y="15"/>
                    <a:pt x="0" y="15"/>
                    <a:pt x="0" y="16"/>
                  </a:cubicBezTo>
                  <a:cubicBezTo>
                    <a:pt x="9" y="23"/>
                    <a:pt x="27" y="19"/>
                    <a:pt x="38" y="22"/>
                  </a:cubicBezTo>
                  <a:cubicBezTo>
                    <a:pt x="46" y="24"/>
                    <a:pt x="55" y="28"/>
                    <a:pt x="63" y="3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7" name="Google Shape;293;p3">
              <a:extLst>
                <a:ext uri="{FF2B5EF4-FFF2-40B4-BE49-F238E27FC236}">
                  <a16:creationId xmlns:a16="http://schemas.microsoft.com/office/drawing/2014/main" id="{8EFDFD87-BAFB-6EDC-B0BC-33A61E2392EC}"/>
                </a:ext>
              </a:extLst>
            </p:cNvPr>
            <p:cNvSpPr/>
            <p:nvPr/>
          </p:nvSpPr>
          <p:spPr>
            <a:xfrm>
              <a:off x="4662488" y="1814513"/>
              <a:ext cx="230188" cy="368300"/>
            </a:xfrm>
            <a:custGeom>
              <a:avLst/>
              <a:gdLst/>
              <a:ahLst/>
              <a:cxnLst/>
              <a:rect l="l" t="t" r="r" b="b"/>
              <a:pathLst>
                <a:path w="137" h="219" extrusionOk="0">
                  <a:moveTo>
                    <a:pt x="114" y="150"/>
                  </a:moveTo>
                  <a:cubicBezTo>
                    <a:pt x="109" y="171"/>
                    <a:pt x="103" y="192"/>
                    <a:pt x="99" y="215"/>
                  </a:cubicBezTo>
                  <a:cubicBezTo>
                    <a:pt x="98" y="217"/>
                    <a:pt x="101" y="219"/>
                    <a:pt x="103" y="217"/>
                  </a:cubicBezTo>
                  <a:cubicBezTo>
                    <a:pt x="116" y="203"/>
                    <a:pt x="120" y="181"/>
                    <a:pt x="126" y="163"/>
                  </a:cubicBezTo>
                  <a:cubicBezTo>
                    <a:pt x="133" y="143"/>
                    <a:pt x="136" y="124"/>
                    <a:pt x="137" y="104"/>
                  </a:cubicBezTo>
                  <a:cubicBezTo>
                    <a:pt x="137" y="87"/>
                    <a:pt x="134" y="64"/>
                    <a:pt x="125" y="46"/>
                  </a:cubicBezTo>
                  <a:cubicBezTo>
                    <a:pt x="126" y="25"/>
                    <a:pt x="98" y="9"/>
                    <a:pt x="81" y="5"/>
                  </a:cubicBezTo>
                  <a:cubicBezTo>
                    <a:pt x="57" y="0"/>
                    <a:pt x="28" y="9"/>
                    <a:pt x="15" y="30"/>
                  </a:cubicBezTo>
                  <a:cubicBezTo>
                    <a:pt x="15" y="31"/>
                    <a:pt x="16" y="31"/>
                    <a:pt x="16" y="31"/>
                  </a:cubicBezTo>
                  <a:cubicBezTo>
                    <a:pt x="35" y="17"/>
                    <a:pt x="54" y="8"/>
                    <a:pt x="78" y="14"/>
                  </a:cubicBezTo>
                  <a:cubicBezTo>
                    <a:pt x="85" y="16"/>
                    <a:pt x="91" y="19"/>
                    <a:pt x="96" y="23"/>
                  </a:cubicBezTo>
                  <a:cubicBezTo>
                    <a:pt x="95" y="24"/>
                    <a:pt x="95" y="25"/>
                    <a:pt x="96" y="25"/>
                  </a:cubicBezTo>
                  <a:cubicBezTo>
                    <a:pt x="97" y="27"/>
                    <a:pt x="99" y="29"/>
                    <a:pt x="100" y="31"/>
                  </a:cubicBezTo>
                  <a:cubicBezTo>
                    <a:pt x="64" y="20"/>
                    <a:pt x="0" y="32"/>
                    <a:pt x="5" y="71"/>
                  </a:cubicBezTo>
                  <a:cubicBezTo>
                    <a:pt x="5" y="72"/>
                    <a:pt x="6" y="72"/>
                    <a:pt x="6" y="72"/>
                  </a:cubicBezTo>
                  <a:cubicBezTo>
                    <a:pt x="21" y="24"/>
                    <a:pt x="80" y="44"/>
                    <a:pt x="115" y="57"/>
                  </a:cubicBezTo>
                  <a:cubicBezTo>
                    <a:pt x="115" y="58"/>
                    <a:pt x="116" y="59"/>
                    <a:pt x="116" y="60"/>
                  </a:cubicBezTo>
                  <a:cubicBezTo>
                    <a:pt x="120" y="76"/>
                    <a:pt x="120" y="93"/>
                    <a:pt x="120" y="110"/>
                  </a:cubicBezTo>
                  <a:cubicBezTo>
                    <a:pt x="119" y="114"/>
                    <a:pt x="119" y="118"/>
                    <a:pt x="119" y="122"/>
                  </a:cubicBezTo>
                  <a:cubicBezTo>
                    <a:pt x="104" y="143"/>
                    <a:pt x="85" y="161"/>
                    <a:pt x="58" y="153"/>
                  </a:cubicBezTo>
                  <a:cubicBezTo>
                    <a:pt x="31" y="145"/>
                    <a:pt x="15" y="117"/>
                    <a:pt x="8" y="93"/>
                  </a:cubicBezTo>
                  <a:cubicBezTo>
                    <a:pt x="7" y="92"/>
                    <a:pt x="6" y="92"/>
                    <a:pt x="6" y="93"/>
                  </a:cubicBezTo>
                  <a:cubicBezTo>
                    <a:pt x="2" y="123"/>
                    <a:pt x="25" y="158"/>
                    <a:pt x="53" y="168"/>
                  </a:cubicBezTo>
                  <a:cubicBezTo>
                    <a:pt x="79" y="178"/>
                    <a:pt x="102" y="168"/>
                    <a:pt x="114" y="15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8" name="Google Shape;294;p3">
              <a:extLst>
                <a:ext uri="{FF2B5EF4-FFF2-40B4-BE49-F238E27FC236}">
                  <a16:creationId xmlns:a16="http://schemas.microsoft.com/office/drawing/2014/main" id="{B52413BD-1917-5546-2E1E-824076425ABF}"/>
                </a:ext>
              </a:extLst>
            </p:cNvPr>
            <p:cNvSpPr/>
            <p:nvPr/>
          </p:nvSpPr>
          <p:spPr>
            <a:xfrm>
              <a:off x="4640263" y="2063751"/>
              <a:ext cx="150813" cy="107950"/>
            </a:xfrm>
            <a:custGeom>
              <a:avLst/>
              <a:gdLst/>
              <a:ahLst/>
              <a:cxnLst/>
              <a:rect l="l" t="t" r="r" b="b"/>
              <a:pathLst>
                <a:path w="89" h="64" extrusionOk="0">
                  <a:moveTo>
                    <a:pt x="30" y="48"/>
                  </a:moveTo>
                  <a:cubicBezTo>
                    <a:pt x="45" y="58"/>
                    <a:pt x="69" y="64"/>
                    <a:pt x="85" y="53"/>
                  </a:cubicBezTo>
                  <a:cubicBezTo>
                    <a:pt x="87" y="51"/>
                    <a:pt x="89" y="48"/>
                    <a:pt x="88" y="45"/>
                  </a:cubicBezTo>
                  <a:cubicBezTo>
                    <a:pt x="87" y="42"/>
                    <a:pt x="86" y="41"/>
                    <a:pt x="83" y="40"/>
                  </a:cubicBezTo>
                  <a:cubicBezTo>
                    <a:pt x="80" y="39"/>
                    <a:pt x="78" y="40"/>
                    <a:pt x="76" y="41"/>
                  </a:cubicBezTo>
                  <a:cubicBezTo>
                    <a:pt x="70" y="44"/>
                    <a:pt x="64" y="44"/>
                    <a:pt x="58" y="43"/>
                  </a:cubicBezTo>
                  <a:cubicBezTo>
                    <a:pt x="31" y="42"/>
                    <a:pt x="13" y="22"/>
                    <a:pt x="1" y="0"/>
                  </a:cubicBezTo>
                  <a:cubicBezTo>
                    <a:pt x="1" y="0"/>
                    <a:pt x="0" y="0"/>
                    <a:pt x="1" y="1"/>
                  </a:cubicBezTo>
                  <a:cubicBezTo>
                    <a:pt x="6" y="21"/>
                    <a:pt x="11" y="36"/>
                    <a:pt x="30" y="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59" name="Google Shape;295;p3">
              <a:extLst>
                <a:ext uri="{FF2B5EF4-FFF2-40B4-BE49-F238E27FC236}">
                  <a16:creationId xmlns:a16="http://schemas.microsoft.com/office/drawing/2014/main" id="{EF662915-56BF-149F-3364-EBE040707B78}"/>
                </a:ext>
              </a:extLst>
            </p:cNvPr>
            <p:cNvSpPr/>
            <p:nvPr/>
          </p:nvSpPr>
          <p:spPr>
            <a:xfrm>
              <a:off x="4976813" y="1789113"/>
              <a:ext cx="211138" cy="385763"/>
            </a:xfrm>
            <a:custGeom>
              <a:avLst/>
              <a:gdLst/>
              <a:ahLst/>
              <a:cxnLst/>
              <a:rect l="l" t="t" r="r" b="b"/>
              <a:pathLst>
                <a:path w="125" h="229" extrusionOk="0">
                  <a:moveTo>
                    <a:pt x="7" y="70"/>
                  </a:moveTo>
                  <a:cubicBezTo>
                    <a:pt x="0" y="92"/>
                    <a:pt x="3" y="117"/>
                    <a:pt x="6" y="138"/>
                  </a:cubicBezTo>
                  <a:cubicBezTo>
                    <a:pt x="11" y="168"/>
                    <a:pt x="23" y="208"/>
                    <a:pt x="47" y="228"/>
                  </a:cubicBezTo>
                  <a:cubicBezTo>
                    <a:pt x="48" y="229"/>
                    <a:pt x="50" y="229"/>
                    <a:pt x="50" y="227"/>
                  </a:cubicBezTo>
                  <a:cubicBezTo>
                    <a:pt x="49" y="209"/>
                    <a:pt x="40" y="191"/>
                    <a:pt x="32" y="173"/>
                  </a:cubicBezTo>
                  <a:cubicBezTo>
                    <a:pt x="46" y="179"/>
                    <a:pt x="66" y="180"/>
                    <a:pt x="76" y="178"/>
                  </a:cubicBezTo>
                  <a:cubicBezTo>
                    <a:pt x="109" y="173"/>
                    <a:pt x="125" y="132"/>
                    <a:pt x="116" y="102"/>
                  </a:cubicBezTo>
                  <a:cubicBezTo>
                    <a:pt x="116" y="102"/>
                    <a:pt x="115" y="102"/>
                    <a:pt x="115" y="102"/>
                  </a:cubicBezTo>
                  <a:cubicBezTo>
                    <a:pt x="108" y="127"/>
                    <a:pt x="109" y="153"/>
                    <a:pt x="81" y="164"/>
                  </a:cubicBezTo>
                  <a:cubicBezTo>
                    <a:pt x="66" y="170"/>
                    <a:pt x="41" y="167"/>
                    <a:pt x="26" y="157"/>
                  </a:cubicBezTo>
                  <a:cubicBezTo>
                    <a:pt x="25" y="154"/>
                    <a:pt x="24" y="151"/>
                    <a:pt x="23" y="149"/>
                  </a:cubicBezTo>
                  <a:cubicBezTo>
                    <a:pt x="16" y="123"/>
                    <a:pt x="13" y="100"/>
                    <a:pt x="13" y="74"/>
                  </a:cubicBezTo>
                  <a:cubicBezTo>
                    <a:pt x="24" y="57"/>
                    <a:pt x="47" y="51"/>
                    <a:pt x="67" y="52"/>
                  </a:cubicBezTo>
                  <a:cubicBezTo>
                    <a:pt x="77" y="53"/>
                    <a:pt x="87" y="58"/>
                    <a:pt x="94" y="64"/>
                  </a:cubicBezTo>
                  <a:cubicBezTo>
                    <a:pt x="103" y="72"/>
                    <a:pt x="102" y="84"/>
                    <a:pt x="108" y="94"/>
                  </a:cubicBezTo>
                  <a:cubicBezTo>
                    <a:pt x="109" y="95"/>
                    <a:pt x="111" y="96"/>
                    <a:pt x="112" y="94"/>
                  </a:cubicBezTo>
                  <a:cubicBezTo>
                    <a:pt x="116" y="84"/>
                    <a:pt x="114" y="74"/>
                    <a:pt x="109" y="66"/>
                  </a:cubicBezTo>
                  <a:cubicBezTo>
                    <a:pt x="109" y="59"/>
                    <a:pt x="105" y="51"/>
                    <a:pt x="103" y="46"/>
                  </a:cubicBezTo>
                  <a:cubicBezTo>
                    <a:pt x="96" y="31"/>
                    <a:pt x="86" y="19"/>
                    <a:pt x="71" y="12"/>
                  </a:cubicBezTo>
                  <a:cubicBezTo>
                    <a:pt x="44" y="0"/>
                    <a:pt x="16" y="16"/>
                    <a:pt x="9" y="43"/>
                  </a:cubicBezTo>
                  <a:cubicBezTo>
                    <a:pt x="9" y="43"/>
                    <a:pt x="10" y="43"/>
                    <a:pt x="10" y="43"/>
                  </a:cubicBezTo>
                  <a:cubicBezTo>
                    <a:pt x="22" y="18"/>
                    <a:pt x="52" y="11"/>
                    <a:pt x="75" y="25"/>
                  </a:cubicBezTo>
                  <a:cubicBezTo>
                    <a:pt x="84" y="30"/>
                    <a:pt x="89" y="39"/>
                    <a:pt x="94" y="49"/>
                  </a:cubicBezTo>
                  <a:cubicBezTo>
                    <a:pt x="87" y="44"/>
                    <a:pt x="79" y="40"/>
                    <a:pt x="72" y="39"/>
                  </a:cubicBezTo>
                  <a:cubicBezTo>
                    <a:pt x="52" y="37"/>
                    <a:pt x="7" y="45"/>
                    <a:pt x="7" y="7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0" name="Google Shape;296;p3">
              <a:extLst>
                <a:ext uri="{FF2B5EF4-FFF2-40B4-BE49-F238E27FC236}">
                  <a16:creationId xmlns:a16="http://schemas.microsoft.com/office/drawing/2014/main" id="{13AEC6C8-5655-EFF4-6754-BC42EA73500A}"/>
                </a:ext>
              </a:extLst>
            </p:cNvPr>
            <p:cNvSpPr/>
            <p:nvPr/>
          </p:nvSpPr>
          <p:spPr>
            <a:xfrm>
              <a:off x="5067300" y="2012951"/>
              <a:ext cx="147638" cy="138113"/>
            </a:xfrm>
            <a:custGeom>
              <a:avLst/>
              <a:gdLst/>
              <a:ahLst/>
              <a:cxnLst/>
              <a:rect l="l" t="t" r="r" b="b"/>
              <a:pathLst>
                <a:path w="88" h="82" extrusionOk="0">
                  <a:moveTo>
                    <a:pt x="88" y="1"/>
                  </a:moveTo>
                  <a:cubicBezTo>
                    <a:pt x="88" y="1"/>
                    <a:pt x="87" y="0"/>
                    <a:pt x="87" y="1"/>
                  </a:cubicBezTo>
                  <a:cubicBezTo>
                    <a:pt x="76" y="13"/>
                    <a:pt x="69" y="29"/>
                    <a:pt x="56" y="41"/>
                  </a:cubicBezTo>
                  <a:cubicBezTo>
                    <a:pt x="40" y="57"/>
                    <a:pt x="21" y="54"/>
                    <a:pt x="1" y="57"/>
                  </a:cubicBezTo>
                  <a:cubicBezTo>
                    <a:pt x="0" y="57"/>
                    <a:pt x="0" y="59"/>
                    <a:pt x="1" y="59"/>
                  </a:cubicBezTo>
                  <a:cubicBezTo>
                    <a:pt x="38" y="82"/>
                    <a:pt x="86" y="39"/>
                    <a:pt x="88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1" name="Google Shape;297;p3">
              <a:extLst>
                <a:ext uri="{FF2B5EF4-FFF2-40B4-BE49-F238E27FC236}">
                  <a16:creationId xmlns:a16="http://schemas.microsoft.com/office/drawing/2014/main" id="{C1EB53D9-3345-4B94-16A6-1D5817C8DAD8}"/>
                </a:ext>
              </a:extLst>
            </p:cNvPr>
            <p:cNvSpPr/>
            <p:nvPr/>
          </p:nvSpPr>
          <p:spPr>
            <a:xfrm>
              <a:off x="4752975" y="1906588"/>
              <a:ext cx="106363" cy="141288"/>
            </a:xfrm>
            <a:custGeom>
              <a:avLst/>
              <a:gdLst/>
              <a:ahLst/>
              <a:cxnLst/>
              <a:rect l="l" t="t" r="r" b="b"/>
              <a:pathLst>
                <a:path w="63" h="84" extrusionOk="0">
                  <a:moveTo>
                    <a:pt x="62" y="46"/>
                  </a:moveTo>
                  <a:cubicBezTo>
                    <a:pt x="63" y="34"/>
                    <a:pt x="61" y="22"/>
                    <a:pt x="53" y="12"/>
                  </a:cubicBezTo>
                  <a:cubicBezTo>
                    <a:pt x="46" y="4"/>
                    <a:pt x="29" y="0"/>
                    <a:pt x="23" y="10"/>
                  </a:cubicBezTo>
                  <a:cubicBezTo>
                    <a:pt x="17" y="13"/>
                    <a:pt x="11" y="19"/>
                    <a:pt x="8" y="25"/>
                  </a:cubicBezTo>
                  <a:cubicBezTo>
                    <a:pt x="0" y="42"/>
                    <a:pt x="6" y="69"/>
                    <a:pt x="24" y="76"/>
                  </a:cubicBezTo>
                  <a:cubicBezTo>
                    <a:pt x="43" y="84"/>
                    <a:pt x="60" y="63"/>
                    <a:pt x="62" y="46"/>
                  </a:cubicBezTo>
                  <a:close/>
                  <a:moveTo>
                    <a:pt x="42" y="26"/>
                  </a:moveTo>
                  <a:cubicBezTo>
                    <a:pt x="42" y="27"/>
                    <a:pt x="43" y="29"/>
                    <a:pt x="44" y="30"/>
                  </a:cubicBezTo>
                  <a:cubicBezTo>
                    <a:pt x="43" y="30"/>
                    <a:pt x="43" y="30"/>
                    <a:pt x="42" y="30"/>
                  </a:cubicBezTo>
                  <a:cubicBezTo>
                    <a:pt x="39" y="30"/>
                    <a:pt x="36" y="30"/>
                    <a:pt x="33" y="30"/>
                  </a:cubicBezTo>
                  <a:cubicBezTo>
                    <a:pt x="33" y="27"/>
                    <a:pt x="33" y="24"/>
                    <a:pt x="32" y="22"/>
                  </a:cubicBezTo>
                  <a:cubicBezTo>
                    <a:pt x="35" y="22"/>
                    <a:pt x="39" y="22"/>
                    <a:pt x="42" y="26"/>
                  </a:cubicBezTo>
                  <a:close/>
                  <a:moveTo>
                    <a:pt x="21" y="60"/>
                  </a:move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2" name="Google Shape;298;p3">
              <a:extLst>
                <a:ext uri="{FF2B5EF4-FFF2-40B4-BE49-F238E27FC236}">
                  <a16:creationId xmlns:a16="http://schemas.microsoft.com/office/drawing/2014/main" id="{5C047A0C-E158-7D19-A608-E963813F8A0B}"/>
                </a:ext>
              </a:extLst>
            </p:cNvPr>
            <p:cNvSpPr/>
            <p:nvPr/>
          </p:nvSpPr>
          <p:spPr>
            <a:xfrm>
              <a:off x="5002213" y="1897063"/>
              <a:ext cx="106363" cy="152400"/>
            </a:xfrm>
            <a:custGeom>
              <a:avLst/>
              <a:gdLst/>
              <a:ahLst/>
              <a:cxnLst/>
              <a:rect l="l" t="t" r="r" b="b"/>
              <a:pathLst>
                <a:path w="63" h="91" extrusionOk="0">
                  <a:moveTo>
                    <a:pt x="36" y="1"/>
                  </a:moveTo>
                  <a:cubicBezTo>
                    <a:pt x="22" y="0"/>
                    <a:pt x="10" y="12"/>
                    <a:pt x="7" y="25"/>
                  </a:cubicBezTo>
                  <a:cubicBezTo>
                    <a:pt x="6" y="26"/>
                    <a:pt x="6" y="27"/>
                    <a:pt x="6" y="28"/>
                  </a:cubicBezTo>
                  <a:cubicBezTo>
                    <a:pt x="6" y="30"/>
                    <a:pt x="5" y="32"/>
                    <a:pt x="4" y="34"/>
                  </a:cubicBezTo>
                  <a:cubicBezTo>
                    <a:pt x="0" y="55"/>
                    <a:pt x="12" y="91"/>
                    <a:pt x="40" y="77"/>
                  </a:cubicBezTo>
                  <a:cubicBezTo>
                    <a:pt x="55" y="69"/>
                    <a:pt x="61" y="52"/>
                    <a:pt x="62" y="36"/>
                  </a:cubicBezTo>
                  <a:cubicBezTo>
                    <a:pt x="63" y="21"/>
                    <a:pt x="52" y="3"/>
                    <a:pt x="36" y="1"/>
                  </a:cubicBezTo>
                  <a:close/>
                  <a:moveTo>
                    <a:pt x="42" y="34"/>
                  </a:moveTo>
                  <a:cubicBezTo>
                    <a:pt x="40" y="32"/>
                    <a:pt x="37" y="30"/>
                    <a:pt x="34" y="29"/>
                  </a:cubicBezTo>
                  <a:cubicBezTo>
                    <a:pt x="31" y="28"/>
                    <a:pt x="27" y="29"/>
                    <a:pt x="24" y="30"/>
                  </a:cubicBezTo>
                  <a:cubicBezTo>
                    <a:pt x="21" y="31"/>
                    <a:pt x="20" y="33"/>
                    <a:pt x="20" y="28"/>
                  </a:cubicBezTo>
                  <a:cubicBezTo>
                    <a:pt x="20" y="23"/>
                    <a:pt x="26" y="18"/>
                    <a:pt x="30" y="16"/>
                  </a:cubicBezTo>
                  <a:cubicBezTo>
                    <a:pt x="41" y="12"/>
                    <a:pt x="43" y="25"/>
                    <a:pt x="42" y="3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63" name="Google Shape;299;p3">
              <a:extLst>
                <a:ext uri="{FF2B5EF4-FFF2-40B4-BE49-F238E27FC236}">
                  <a16:creationId xmlns:a16="http://schemas.microsoft.com/office/drawing/2014/main" id="{1DC3D5DF-DD1E-0CA4-FF45-BB2BF5C6E0F3}"/>
                </a:ext>
              </a:extLst>
            </p:cNvPr>
            <p:cNvSpPr/>
            <p:nvPr/>
          </p:nvSpPr>
          <p:spPr>
            <a:xfrm>
              <a:off x="5983288" y="3263901"/>
              <a:ext cx="153988" cy="401638"/>
            </a:xfrm>
            <a:custGeom>
              <a:avLst/>
              <a:gdLst/>
              <a:ahLst/>
              <a:cxnLst/>
              <a:rect l="l" t="t" r="r" b="b"/>
              <a:pathLst>
                <a:path w="92" h="239" extrusionOk="0">
                  <a:moveTo>
                    <a:pt x="91" y="1"/>
                  </a:moveTo>
                  <a:cubicBezTo>
                    <a:pt x="78" y="10"/>
                    <a:pt x="73" y="28"/>
                    <a:pt x="67" y="42"/>
                  </a:cubicBezTo>
                  <a:cubicBezTo>
                    <a:pt x="54" y="67"/>
                    <a:pt x="43" y="91"/>
                    <a:pt x="35" y="117"/>
                  </a:cubicBezTo>
                  <a:cubicBezTo>
                    <a:pt x="25" y="147"/>
                    <a:pt x="17" y="177"/>
                    <a:pt x="9" y="207"/>
                  </a:cubicBezTo>
                  <a:cubicBezTo>
                    <a:pt x="7" y="217"/>
                    <a:pt x="3" y="228"/>
                    <a:pt x="0" y="239"/>
                  </a:cubicBezTo>
                  <a:cubicBezTo>
                    <a:pt x="20" y="239"/>
                    <a:pt x="20" y="239"/>
                    <a:pt x="20" y="239"/>
                  </a:cubicBezTo>
                  <a:cubicBezTo>
                    <a:pt x="21" y="232"/>
                    <a:pt x="22" y="226"/>
                    <a:pt x="24" y="220"/>
                  </a:cubicBezTo>
                  <a:cubicBezTo>
                    <a:pt x="29" y="193"/>
                    <a:pt x="35" y="166"/>
                    <a:pt x="41" y="138"/>
                  </a:cubicBezTo>
                  <a:cubicBezTo>
                    <a:pt x="48" y="109"/>
                    <a:pt x="55" y="82"/>
                    <a:pt x="69" y="54"/>
                  </a:cubicBezTo>
                  <a:cubicBezTo>
                    <a:pt x="77" y="37"/>
                    <a:pt x="82" y="18"/>
                    <a:pt x="92" y="2"/>
                  </a:cubicBezTo>
                  <a:cubicBezTo>
                    <a:pt x="92" y="1"/>
                    <a:pt x="92" y="0"/>
                    <a:pt x="91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grpSp>
        <p:nvGrpSpPr>
          <p:cNvPr id="2048" name="Google Shape;300;p3">
            <a:extLst>
              <a:ext uri="{FF2B5EF4-FFF2-40B4-BE49-F238E27FC236}">
                <a16:creationId xmlns:a16="http://schemas.microsoft.com/office/drawing/2014/main" id="{BEFD7326-623B-2BD6-CA20-74B593D502C8}"/>
              </a:ext>
            </a:extLst>
          </p:cNvPr>
          <p:cNvGrpSpPr/>
          <p:nvPr/>
        </p:nvGrpSpPr>
        <p:grpSpPr>
          <a:xfrm>
            <a:off x="6716676" y="4536373"/>
            <a:ext cx="1023638" cy="1240878"/>
            <a:chOff x="6002338" y="1327151"/>
            <a:chExt cx="1730375" cy="2338388"/>
          </a:xfrm>
        </p:grpSpPr>
        <p:sp>
          <p:nvSpPr>
            <p:cNvPr id="2049" name="Google Shape;301;p3">
              <a:extLst>
                <a:ext uri="{FF2B5EF4-FFF2-40B4-BE49-F238E27FC236}">
                  <a16:creationId xmlns:a16="http://schemas.microsoft.com/office/drawing/2014/main" id="{B804918D-7963-C499-419E-27559909AB85}"/>
                </a:ext>
              </a:extLst>
            </p:cNvPr>
            <p:cNvSpPr/>
            <p:nvPr/>
          </p:nvSpPr>
          <p:spPr>
            <a:xfrm>
              <a:off x="6092826" y="1412876"/>
              <a:ext cx="1436688" cy="1698625"/>
            </a:xfrm>
            <a:custGeom>
              <a:avLst/>
              <a:gdLst/>
              <a:ahLst/>
              <a:cxnLst/>
              <a:rect l="l" t="t" r="r" b="b"/>
              <a:pathLst>
                <a:path w="853" h="1010" extrusionOk="0">
                  <a:moveTo>
                    <a:pt x="635" y="56"/>
                  </a:moveTo>
                  <a:cubicBezTo>
                    <a:pt x="554" y="6"/>
                    <a:pt x="459" y="0"/>
                    <a:pt x="367" y="18"/>
                  </a:cubicBezTo>
                  <a:cubicBezTo>
                    <a:pt x="300" y="31"/>
                    <a:pt x="227" y="61"/>
                    <a:pt x="182" y="113"/>
                  </a:cubicBezTo>
                  <a:cubicBezTo>
                    <a:pt x="149" y="151"/>
                    <a:pt x="142" y="204"/>
                    <a:pt x="132" y="252"/>
                  </a:cubicBezTo>
                  <a:cubicBezTo>
                    <a:pt x="122" y="300"/>
                    <a:pt x="128" y="349"/>
                    <a:pt x="119" y="398"/>
                  </a:cubicBezTo>
                  <a:cubicBezTo>
                    <a:pt x="73" y="360"/>
                    <a:pt x="22" y="380"/>
                    <a:pt x="7" y="436"/>
                  </a:cubicBezTo>
                  <a:cubicBezTo>
                    <a:pt x="0" y="461"/>
                    <a:pt x="3" y="486"/>
                    <a:pt x="7" y="511"/>
                  </a:cubicBezTo>
                  <a:cubicBezTo>
                    <a:pt x="11" y="535"/>
                    <a:pt x="13" y="564"/>
                    <a:pt x="28" y="584"/>
                  </a:cubicBezTo>
                  <a:cubicBezTo>
                    <a:pt x="46" y="608"/>
                    <a:pt x="77" y="608"/>
                    <a:pt x="105" y="604"/>
                  </a:cubicBezTo>
                  <a:cubicBezTo>
                    <a:pt x="112" y="658"/>
                    <a:pt x="127" y="711"/>
                    <a:pt x="152" y="760"/>
                  </a:cubicBezTo>
                  <a:cubicBezTo>
                    <a:pt x="180" y="812"/>
                    <a:pt x="214" y="845"/>
                    <a:pt x="268" y="868"/>
                  </a:cubicBezTo>
                  <a:cubicBezTo>
                    <a:pt x="290" y="877"/>
                    <a:pt x="305" y="887"/>
                    <a:pt x="316" y="909"/>
                  </a:cubicBezTo>
                  <a:cubicBezTo>
                    <a:pt x="327" y="931"/>
                    <a:pt x="336" y="952"/>
                    <a:pt x="354" y="968"/>
                  </a:cubicBezTo>
                  <a:cubicBezTo>
                    <a:pt x="388" y="999"/>
                    <a:pt x="444" y="1010"/>
                    <a:pt x="489" y="1001"/>
                  </a:cubicBezTo>
                  <a:cubicBezTo>
                    <a:pt x="540" y="990"/>
                    <a:pt x="579" y="941"/>
                    <a:pt x="573" y="889"/>
                  </a:cubicBezTo>
                  <a:cubicBezTo>
                    <a:pt x="573" y="883"/>
                    <a:pt x="571" y="876"/>
                    <a:pt x="570" y="870"/>
                  </a:cubicBezTo>
                  <a:cubicBezTo>
                    <a:pt x="610" y="849"/>
                    <a:pt x="646" y="815"/>
                    <a:pt x="674" y="780"/>
                  </a:cubicBezTo>
                  <a:cubicBezTo>
                    <a:pt x="705" y="742"/>
                    <a:pt x="716" y="699"/>
                    <a:pt x="723" y="651"/>
                  </a:cubicBezTo>
                  <a:cubicBezTo>
                    <a:pt x="727" y="624"/>
                    <a:pt x="732" y="596"/>
                    <a:pt x="731" y="568"/>
                  </a:cubicBezTo>
                  <a:cubicBezTo>
                    <a:pt x="787" y="607"/>
                    <a:pt x="816" y="552"/>
                    <a:pt x="829" y="503"/>
                  </a:cubicBezTo>
                  <a:cubicBezTo>
                    <a:pt x="841" y="456"/>
                    <a:pt x="853" y="386"/>
                    <a:pt x="794" y="366"/>
                  </a:cubicBezTo>
                  <a:cubicBezTo>
                    <a:pt x="764" y="356"/>
                    <a:pt x="737" y="365"/>
                    <a:pt x="714" y="384"/>
                  </a:cubicBezTo>
                  <a:cubicBezTo>
                    <a:pt x="712" y="339"/>
                    <a:pt x="716" y="297"/>
                    <a:pt x="707" y="252"/>
                  </a:cubicBezTo>
                  <a:cubicBezTo>
                    <a:pt x="700" y="212"/>
                    <a:pt x="693" y="170"/>
                    <a:pt x="679" y="132"/>
                  </a:cubicBezTo>
                  <a:cubicBezTo>
                    <a:pt x="674" y="116"/>
                    <a:pt x="664" y="86"/>
                    <a:pt x="647" y="79"/>
                  </a:cubicBezTo>
                  <a:cubicBezTo>
                    <a:pt x="635" y="56"/>
                    <a:pt x="635" y="56"/>
                    <a:pt x="635" y="56"/>
                  </a:cubicBezTo>
                  <a:close/>
                </a:path>
              </a:pathLst>
            </a:custGeom>
            <a:solidFill>
              <a:srgbClr val="FEDEC7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51" name="Google Shape;302;p3">
              <a:extLst>
                <a:ext uri="{FF2B5EF4-FFF2-40B4-BE49-F238E27FC236}">
                  <a16:creationId xmlns:a16="http://schemas.microsoft.com/office/drawing/2014/main" id="{56839ABF-23A7-DEC5-55B4-D6663E6D30AF}"/>
                </a:ext>
              </a:extLst>
            </p:cNvPr>
            <p:cNvSpPr/>
            <p:nvPr/>
          </p:nvSpPr>
          <p:spPr>
            <a:xfrm>
              <a:off x="6251576" y="1354139"/>
              <a:ext cx="1096963" cy="776288"/>
            </a:xfrm>
            <a:custGeom>
              <a:avLst/>
              <a:gdLst/>
              <a:ahLst/>
              <a:cxnLst/>
              <a:rect l="l" t="t" r="r" b="b"/>
              <a:pathLst>
                <a:path w="651" h="462" extrusionOk="0">
                  <a:moveTo>
                    <a:pt x="536" y="88"/>
                  </a:moveTo>
                  <a:cubicBezTo>
                    <a:pt x="503" y="34"/>
                    <a:pt x="455" y="16"/>
                    <a:pt x="394" y="8"/>
                  </a:cubicBezTo>
                  <a:cubicBezTo>
                    <a:pt x="332" y="0"/>
                    <a:pt x="274" y="9"/>
                    <a:pt x="215" y="30"/>
                  </a:cubicBezTo>
                  <a:cubicBezTo>
                    <a:pt x="159" y="51"/>
                    <a:pt x="105" y="78"/>
                    <a:pt x="64" y="123"/>
                  </a:cubicBezTo>
                  <a:cubicBezTo>
                    <a:pt x="20" y="172"/>
                    <a:pt x="14" y="225"/>
                    <a:pt x="13" y="288"/>
                  </a:cubicBezTo>
                  <a:cubicBezTo>
                    <a:pt x="12" y="342"/>
                    <a:pt x="0" y="411"/>
                    <a:pt x="44" y="451"/>
                  </a:cubicBezTo>
                  <a:cubicBezTo>
                    <a:pt x="48" y="455"/>
                    <a:pt x="52" y="459"/>
                    <a:pt x="57" y="462"/>
                  </a:cubicBezTo>
                  <a:cubicBezTo>
                    <a:pt x="61" y="390"/>
                    <a:pt x="57" y="312"/>
                    <a:pt x="77" y="241"/>
                  </a:cubicBezTo>
                  <a:cubicBezTo>
                    <a:pt x="99" y="166"/>
                    <a:pt x="153" y="145"/>
                    <a:pt x="226" y="161"/>
                  </a:cubicBezTo>
                  <a:cubicBezTo>
                    <a:pt x="262" y="169"/>
                    <a:pt x="297" y="179"/>
                    <a:pt x="334" y="177"/>
                  </a:cubicBezTo>
                  <a:cubicBezTo>
                    <a:pt x="371" y="176"/>
                    <a:pt x="404" y="162"/>
                    <a:pt x="438" y="149"/>
                  </a:cubicBezTo>
                  <a:cubicBezTo>
                    <a:pt x="465" y="138"/>
                    <a:pt x="497" y="125"/>
                    <a:pt x="526" y="135"/>
                  </a:cubicBezTo>
                  <a:cubicBezTo>
                    <a:pt x="553" y="144"/>
                    <a:pt x="569" y="172"/>
                    <a:pt x="578" y="198"/>
                  </a:cubicBezTo>
                  <a:cubicBezTo>
                    <a:pt x="602" y="265"/>
                    <a:pt x="602" y="342"/>
                    <a:pt x="604" y="413"/>
                  </a:cubicBezTo>
                  <a:cubicBezTo>
                    <a:pt x="605" y="421"/>
                    <a:pt x="605" y="430"/>
                    <a:pt x="606" y="439"/>
                  </a:cubicBezTo>
                  <a:cubicBezTo>
                    <a:pt x="640" y="435"/>
                    <a:pt x="641" y="410"/>
                    <a:pt x="641" y="381"/>
                  </a:cubicBezTo>
                  <a:cubicBezTo>
                    <a:pt x="641" y="351"/>
                    <a:pt x="645" y="321"/>
                    <a:pt x="645" y="291"/>
                  </a:cubicBezTo>
                  <a:cubicBezTo>
                    <a:pt x="644" y="235"/>
                    <a:pt x="651" y="178"/>
                    <a:pt x="620" y="128"/>
                  </a:cubicBezTo>
                  <a:cubicBezTo>
                    <a:pt x="603" y="102"/>
                    <a:pt x="579" y="92"/>
                    <a:pt x="549" y="88"/>
                  </a:cubicBezTo>
                  <a:cubicBezTo>
                    <a:pt x="536" y="88"/>
                    <a:pt x="536" y="88"/>
                    <a:pt x="536" y="88"/>
                  </a:cubicBezTo>
                  <a:close/>
                </a:path>
              </a:pathLst>
            </a:custGeom>
            <a:solidFill>
              <a:srgbClr val="8E684F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52" name="Google Shape;303;p3">
              <a:extLst>
                <a:ext uri="{FF2B5EF4-FFF2-40B4-BE49-F238E27FC236}">
                  <a16:creationId xmlns:a16="http://schemas.microsoft.com/office/drawing/2014/main" id="{0CF98A39-5B64-94E2-2F81-84C65D9EB77E}"/>
                </a:ext>
              </a:extLst>
            </p:cNvPr>
            <p:cNvSpPr/>
            <p:nvPr/>
          </p:nvSpPr>
          <p:spPr>
            <a:xfrm>
              <a:off x="6002338" y="2922589"/>
              <a:ext cx="1714500" cy="742950"/>
            </a:xfrm>
            <a:custGeom>
              <a:avLst/>
              <a:gdLst/>
              <a:ahLst/>
              <a:cxnLst/>
              <a:rect l="l" t="t" r="r" b="b"/>
              <a:pathLst>
                <a:path w="1018" h="442" extrusionOk="0">
                  <a:moveTo>
                    <a:pt x="1018" y="442"/>
                  </a:moveTo>
                  <a:cubicBezTo>
                    <a:pt x="1013" y="421"/>
                    <a:pt x="1008" y="401"/>
                    <a:pt x="1003" y="381"/>
                  </a:cubicBezTo>
                  <a:cubicBezTo>
                    <a:pt x="992" y="340"/>
                    <a:pt x="990" y="298"/>
                    <a:pt x="976" y="258"/>
                  </a:cubicBezTo>
                  <a:cubicBezTo>
                    <a:pt x="965" y="226"/>
                    <a:pt x="950" y="187"/>
                    <a:pt x="927" y="160"/>
                  </a:cubicBezTo>
                  <a:cubicBezTo>
                    <a:pt x="902" y="131"/>
                    <a:pt x="860" y="120"/>
                    <a:pt x="825" y="106"/>
                  </a:cubicBezTo>
                  <a:cubicBezTo>
                    <a:pt x="783" y="89"/>
                    <a:pt x="739" y="76"/>
                    <a:pt x="696" y="60"/>
                  </a:cubicBezTo>
                  <a:cubicBezTo>
                    <a:pt x="695" y="40"/>
                    <a:pt x="695" y="31"/>
                    <a:pt x="676" y="20"/>
                  </a:cubicBezTo>
                  <a:cubicBezTo>
                    <a:pt x="662" y="12"/>
                    <a:pt x="647" y="7"/>
                    <a:pt x="633" y="0"/>
                  </a:cubicBezTo>
                  <a:cubicBezTo>
                    <a:pt x="621" y="32"/>
                    <a:pt x="611" y="53"/>
                    <a:pt x="588" y="78"/>
                  </a:cubicBezTo>
                  <a:cubicBezTo>
                    <a:pt x="580" y="86"/>
                    <a:pt x="569" y="98"/>
                    <a:pt x="559" y="103"/>
                  </a:cubicBezTo>
                  <a:cubicBezTo>
                    <a:pt x="545" y="109"/>
                    <a:pt x="527" y="104"/>
                    <a:pt x="512" y="105"/>
                  </a:cubicBezTo>
                  <a:cubicBezTo>
                    <a:pt x="494" y="107"/>
                    <a:pt x="477" y="111"/>
                    <a:pt x="458" y="110"/>
                  </a:cubicBezTo>
                  <a:cubicBezTo>
                    <a:pt x="459" y="86"/>
                    <a:pt x="430" y="79"/>
                    <a:pt x="412" y="69"/>
                  </a:cubicBezTo>
                  <a:cubicBezTo>
                    <a:pt x="401" y="63"/>
                    <a:pt x="368" y="33"/>
                    <a:pt x="373" y="24"/>
                  </a:cubicBezTo>
                  <a:cubicBezTo>
                    <a:pt x="363" y="10"/>
                    <a:pt x="363" y="10"/>
                    <a:pt x="363" y="10"/>
                  </a:cubicBezTo>
                  <a:cubicBezTo>
                    <a:pt x="347" y="8"/>
                    <a:pt x="331" y="25"/>
                    <a:pt x="322" y="36"/>
                  </a:cubicBezTo>
                  <a:cubicBezTo>
                    <a:pt x="308" y="54"/>
                    <a:pt x="311" y="63"/>
                    <a:pt x="312" y="83"/>
                  </a:cubicBezTo>
                  <a:cubicBezTo>
                    <a:pt x="274" y="96"/>
                    <a:pt x="237" y="112"/>
                    <a:pt x="198" y="126"/>
                  </a:cubicBezTo>
                  <a:cubicBezTo>
                    <a:pt x="163" y="138"/>
                    <a:pt x="125" y="147"/>
                    <a:pt x="99" y="175"/>
                  </a:cubicBezTo>
                  <a:cubicBezTo>
                    <a:pt x="76" y="199"/>
                    <a:pt x="63" y="233"/>
                    <a:pt x="51" y="264"/>
                  </a:cubicBezTo>
                  <a:cubicBezTo>
                    <a:pt x="38" y="300"/>
                    <a:pt x="23" y="336"/>
                    <a:pt x="14" y="373"/>
                  </a:cubicBezTo>
                  <a:cubicBezTo>
                    <a:pt x="8" y="396"/>
                    <a:pt x="4" y="419"/>
                    <a:pt x="0" y="442"/>
                  </a:cubicBezTo>
                  <a:cubicBezTo>
                    <a:pt x="1018" y="442"/>
                    <a:pt x="1018" y="442"/>
                    <a:pt x="1018" y="442"/>
                  </a:cubicBezTo>
                  <a:close/>
                </a:path>
              </a:pathLst>
            </a:custGeom>
            <a:solidFill>
              <a:srgbClr val="ECF8FE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53" name="Google Shape;304;p3">
              <a:extLst>
                <a:ext uri="{FF2B5EF4-FFF2-40B4-BE49-F238E27FC236}">
                  <a16:creationId xmlns:a16="http://schemas.microsoft.com/office/drawing/2014/main" id="{1589C011-2FE0-EF25-5054-861FE23FCAE6}"/>
                </a:ext>
              </a:extLst>
            </p:cNvPr>
            <p:cNvSpPr/>
            <p:nvPr/>
          </p:nvSpPr>
          <p:spPr>
            <a:xfrm>
              <a:off x="6718301" y="3081339"/>
              <a:ext cx="377825" cy="584200"/>
            </a:xfrm>
            <a:custGeom>
              <a:avLst/>
              <a:gdLst/>
              <a:ahLst/>
              <a:cxnLst/>
              <a:rect l="l" t="t" r="r" b="b"/>
              <a:pathLst>
                <a:path w="224" h="348" extrusionOk="0">
                  <a:moveTo>
                    <a:pt x="144" y="12"/>
                  </a:moveTo>
                  <a:cubicBezTo>
                    <a:pt x="109" y="5"/>
                    <a:pt x="67" y="0"/>
                    <a:pt x="33" y="13"/>
                  </a:cubicBezTo>
                  <a:cubicBezTo>
                    <a:pt x="1" y="25"/>
                    <a:pt x="0" y="82"/>
                    <a:pt x="13" y="108"/>
                  </a:cubicBezTo>
                  <a:cubicBezTo>
                    <a:pt x="21" y="124"/>
                    <a:pt x="32" y="141"/>
                    <a:pt x="43" y="154"/>
                  </a:cubicBezTo>
                  <a:cubicBezTo>
                    <a:pt x="53" y="166"/>
                    <a:pt x="70" y="175"/>
                    <a:pt x="71" y="192"/>
                  </a:cubicBezTo>
                  <a:cubicBezTo>
                    <a:pt x="72" y="209"/>
                    <a:pt x="56" y="229"/>
                    <a:pt x="51" y="245"/>
                  </a:cubicBezTo>
                  <a:cubicBezTo>
                    <a:pt x="45" y="264"/>
                    <a:pt x="40" y="283"/>
                    <a:pt x="34" y="302"/>
                  </a:cubicBezTo>
                  <a:cubicBezTo>
                    <a:pt x="30" y="317"/>
                    <a:pt x="26" y="332"/>
                    <a:pt x="24" y="348"/>
                  </a:cubicBezTo>
                  <a:cubicBezTo>
                    <a:pt x="224" y="348"/>
                    <a:pt x="224" y="348"/>
                    <a:pt x="224" y="348"/>
                  </a:cubicBezTo>
                  <a:cubicBezTo>
                    <a:pt x="221" y="334"/>
                    <a:pt x="217" y="320"/>
                    <a:pt x="213" y="306"/>
                  </a:cubicBezTo>
                  <a:cubicBezTo>
                    <a:pt x="203" y="275"/>
                    <a:pt x="187" y="242"/>
                    <a:pt x="172" y="212"/>
                  </a:cubicBezTo>
                  <a:cubicBezTo>
                    <a:pt x="164" y="196"/>
                    <a:pt x="153" y="182"/>
                    <a:pt x="141" y="169"/>
                  </a:cubicBezTo>
                  <a:cubicBezTo>
                    <a:pt x="151" y="147"/>
                    <a:pt x="170" y="133"/>
                    <a:pt x="178" y="110"/>
                  </a:cubicBezTo>
                  <a:cubicBezTo>
                    <a:pt x="188" y="83"/>
                    <a:pt x="190" y="70"/>
                    <a:pt x="174" y="46"/>
                  </a:cubicBezTo>
                  <a:cubicBezTo>
                    <a:pt x="169" y="38"/>
                    <a:pt x="162" y="29"/>
                    <a:pt x="156" y="22"/>
                  </a:cubicBezTo>
                  <a:cubicBezTo>
                    <a:pt x="144" y="12"/>
                    <a:pt x="144" y="12"/>
                    <a:pt x="144" y="12"/>
                  </a:cubicBezTo>
                  <a:close/>
                </a:path>
              </a:pathLst>
            </a:custGeom>
            <a:solidFill>
              <a:srgbClr val="007C9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54" name="Google Shape;305;p3">
              <a:extLst>
                <a:ext uri="{FF2B5EF4-FFF2-40B4-BE49-F238E27FC236}">
                  <a16:creationId xmlns:a16="http://schemas.microsoft.com/office/drawing/2014/main" id="{E79609BD-D068-89D9-87F6-16634C477F72}"/>
                </a:ext>
              </a:extLst>
            </p:cNvPr>
            <p:cNvSpPr/>
            <p:nvPr/>
          </p:nvSpPr>
          <p:spPr>
            <a:xfrm>
              <a:off x="6119813" y="2095501"/>
              <a:ext cx="155575" cy="292100"/>
            </a:xfrm>
            <a:custGeom>
              <a:avLst/>
              <a:gdLst/>
              <a:ahLst/>
              <a:cxnLst/>
              <a:rect l="l" t="t" r="r" b="b"/>
              <a:pathLst>
                <a:path w="93" h="174" extrusionOk="0">
                  <a:moveTo>
                    <a:pt x="80" y="109"/>
                  </a:moveTo>
                  <a:cubicBezTo>
                    <a:pt x="74" y="84"/>
                    <a:pt x="92" y="60"/>
                    <a:pt x="82" y="36"/>
                  </a:cubicBezTo>
                  <a:cubicBezTo>
                    <a:pt x="73" y="13"/>
                    <a:pt x="42" y="0"/>
                    <a:pt x="21" y="16"/>
                  </a:cubicBezTo>
                  <a:cubicBezTo>
                    <a:pt x="0" y="32"/>
                    <a:pt x="13" y="60"/>
                    <a:pt x="17" y="80"/>
                  </a:cubicBezTo>
                  <a:cubicBezTo>
                    <a:pt x="21" y="105"/>
                    <a:pt x="18" y="129"/>
                    <a:pt x="37" y="148"/>
                  </a:cubicBezTo>
                  <a:cubicBezTo>
                    <a:pt x="62" y="174"/>
                    <a:pt x="93" y="157"/>
                    <a:pt x="86" y="122"/>
                  </a:cubicBezTo>
                  <a:cubicBezTo>
                    <a:pt x="80" y="109"/>
                    <a:pt x="80" y="109"/>
                    <a:pt x="80" y="109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55" name="Google Shape;306;p3">
              <a:extLst>
                <a:ext uri="{FF2B5EF4-FFF2-40B4-BE49-F238E27FC236}">
                  <a16:creationId xmlns:a16="http://schemas.microsoft.com/office/drawing/2014/main" id="{AC43EA23-53C9-734A-2985-22A541C4836E}"/>
                </a:ext>
              </a:extLst>
            </p:cNvPr>
            <p:cNvSpPr/>
            <p:nvPr/>
          </p:nvSpPr>
          <p:spPr>
            <a:xfrm>
              <a:off x="7342188" y="2084389"/>
              <a:ext cx="123825" cy="258763"/>
            </a:xfrm>
            <a:custGeom>
              <a:avLst/>
              <a:gdLst/>
              <a:ahLst/>
              <a:cxnLst/>
              <a:rect l="l" t="t" r="r" b="b"/>
              <a:pathLst>
                <a:path w="74" h="154" extrusionOk="0">
                  <a:moveTo>
                    <a:pt x="70" y="60"/>
                  </a:moveTo>
                  <a:cubicBezTo>
                    <a:pt x="74" y="37"/>
                    <a:pt x="72" y="14"/>
                    <a:pt x="46" y="6"/>
                  </a:cubicBezTo>
                  <a:cubicBezTo>
                    <a:pt x="23" y="0"/>
                    <a:pt x="4" y="16"/>
                    <a:pt x="2" y="39"/>
                  </a:cubicBezTo>
                  <a:cubicBezTo>
                    <a:pt x="0" y="63"/>
                    <a:pt x="13" y="80"/>
                    <a:pt x="8" y="104"/>
                  </a:cubicBezTo>
                  <a:cubicBezTo>
                    <a:pt x="4" y="125"/>
                    <a:pt x="8" y="154"/>
                    <a:pt x="37" y="142"/>
                  </a:cubicBezTo>
                  <a:cubicBezTo>
                    <a:pt x="59" y="133"/>
                    <a:pt x="67" y="103"/>
                    <a:pt x="70" y="82"/>
                  </a:cubicBezTo>
                  <a:cubicBezTo>
                    <a:pt x="70" y="60"/>
                    <a:pt x="70" y="60"/>
                    <a:pt x="70" y="60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56" name="Google Shape;307;p3">
              <a:extLst>
                <a:ext uri="{FF2B5EF4-FFF2-40B4-BE49-F238E27FC236}">
                  <a16:creationId xmlns:a16="http://schemas.microsoft.com/office/drawing/2014/main" id="{9B4EC39D-8BCA-21ED-59BB-157A0B9CBD3E}"/>
                </a:ext>
              </a:extLst>
            </p:cNvPr>
            <p:cNvSpPr/>
            <p:nvPr/>
          </p:nvSpPr>
          <p:spPr>
            <a:xfrm>
              <a:off x="6267451" y="2130426"/>
              <a:ext cx="1062038" cy="814388"/>
            </a:xfrm>
            <a:custGeom>
              <a:avLst/>
              <a:gdLst/>
              <a:ahLst/>
              <a:cxnLst/>
              <a:rect l="l" t="t" r="r" b="b"/>
              <a:pathLst>
                <a:path w="631" h="484" extrusionOk="0">
                  <a:moveTo>
                    <a:pt x="36" y="6"/>
                  </a:moveTo>
                  <a:cubicBezTo>
                    <a:pt x="31" y="84"/>
                    <a:pt x="24" y="166"/>
                    <a:pt x="50" y="241"/>
                  </a:cubicBezTo>
                  <a:cubicBezTo>
                    <a:pt x="74" y="311"/>
                    <a:pt x="128" y="364"/>
                    <a:pt x="197" y="392"/>
                  </a:cubicBezTo>
                  <a:cubicBezTo>
                    <a:pt x="270" y="422"/>
                    <a:pt x="354" y="425"/>
                    <a:pt x="429" y="402"/>
                  </a:cubicBezTo>
                  <a:cubicBezTo>
                    <a:pt x="499" y="381"/>
                    <a:pt x="558" y="334"/>
                    <a:pt x="587" y="266"/>
                  </a:cubicBezTo>
                  <a:cubicBezTo>
                    <a:pt x="617" y="195"/>
                    <a:pt x="614" y="114"/>
                    <a:pt x="609" y="38"/>
                  </a:cubicBezTo>
                  <a:cubicBezTo>
                    <a:pt x="608" y="28"/>
                    <a:pt x="608" y="18"/>
                    <a:pt x="607" y="8"/>
                  </a:cubicBezTo>
                  <a:cubicBezTo>
                    <a:pt x="618" y="94"/>
                    <a:pt x="631" y="185"/>
                    <a:pt x="606" y="271"/>
                  </a:cubicBezTo>
                  <a:cubicBezTo>
                    <a:pt x="583" y="351"/>
                    <a:pt x="525" y="414"/>
                    <a:pt x="449" y="446"/>
                  </a:cubicBezTo>
                  <a:cubicBezTo>
                    <a:pt x="370" y="481"/>
                    <a:pt x="276" y="484"/>
                    <a:pt x="194" y="454"/>
                  </a:cubicBezTo>
                  <a:cubicBezTo>
                    <a:pt x="117" y="426"/>
                    <a:pt x="56" y="368"/>
                    <a:pt x="29" y="290"/>
                  </a:cubicBezTo>
                  <a:cubicBezTo>
                    <a:pt x="0" y="208"/>
                    <a:pt x="9" y="118"/>
                    <a:pt x="20" y="33"/>
                  </a:cubicBezTo>
                  <a:cubicBezTo>
                    <a:pt x="21" y="22"/>
                    <a:pt x="22" y="11"/>
                    <a:pt x="24" y="0"/>
                  </a:cubicBezTo>
                  <a:cubicBezTo>
                    <a:pt x="36" y="6"/>
                    <a:pt x="36" y="6"/>
                    <a:pt x="36" y="6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57" name="Google Shape;308;p3">
              <a:extLst>
                <a:ext uri="{FF2B5EF4-FFF2-40B4-BE49-F238E27FC236}">
                  <a16:creationId xmlns:a16="http://schemas.microsoft.com/office/drawing/2014/main" id="{1BA40383-C3B5-06D9-74E4-E16C41F8ACE6}"/>
                </a:ext>
              </a:extLst>
            </p:cNvPr>
            <p:cNvSpPr/>
            <p:nvPr/>
          </p:nvSpPr>
          <p:spPr>
            <a:xfrm>
              <a:off x="6719888" y="2027239"/>
              <a:ext cx="252413" cy="247650"/>
            </a:xfrm>
            <a:custGeom>
              <a:avLst/>
              <a:gdLst/>
              <a:ahLst/>
              <a:cxnLst/>
              <a:rect l="l" t="t" r="r" b="b"/>
              <a:pathLst>
                <a:path w="150" h="148" extrusionOk="0">
                  <a:moveTo>
                    <a:pt x="150" y="107"/>
                  </a:moveTo>
                  <a:cubicBezTo>
                    <a:pt x="124" y="116"/>
                    <a:pt x="93" y="114"/>
                    <a:pt x="67" y="108"/>
                  </a:cubicBezTo>
                  <a:cubicBezTo>
                    <a:pt x="56" y="106"/>
                    <a:pt x="38" y="100"/>
                    <a:pt x="32" y="92"/>
                  </a:cubicBezTo>
                  <a:cubicBezTo>
                    <a:pt x="22" y="80"/>
                    <a:pt x="29" y="64"/>
                    <a:pt x="31" y="51"/>
                  </a:cubicBezTo>
                  <a:cubicBezTo>
                    <a:pt x="32" y="34"/>
                    <a:pt x="33" y="17"/>
                    <a:pt x="34" y="0"/>
                  </a:cubicBezTo>
                  <a:cubicBezTo>
                    <a:pt x="30" y="20"/>
                    <a:pt x="25" y="39"/>
                    <a:pt x="20" y="58"/>
                  </a:cubicBezTo>
                  <a:cubicBezTo>
                    <a:pt x="15" y="73"/>
                    <a:pt x="4" y="90"/>
                    <a:pt x="3" y="106"/>
                  </a:cubicBezTo>
                  <a:cubicBezTo>
                    <a:pt x="0" y="148"/>
                    <a:pt x="65" y="144"/>
                    <a:pt x="92" y="138"/>
                  </a:cubicBezTo>
                  <a:cubicBezTo>
                    <a:pt x="110" y="134"/>
                    <a:pt x="127" y="127"/>
                    <a:pt x="144" y="119"/>
                  </a:cubicBezTo>
                  <a:cubicBezTo>
                    <a:pt x="150" y="107"/>
                    <a:pt x="150" y="107"/>
                    <a:pt x="150" y="107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58" name="Google Shape;309;p3">
              <a:extLst>
                <a:ext uri="{FF2B5EF4-FFF2-40B4-BE49-F238E27FC236}">
                  <a16:creationId xmlns:a16="http://schemas.microsoft.com/office/drawing/2014/main" id="{012122EF-E2CA-4E7C-3401-522562195338}"/>
                </a:ext>
              </a:extLst>
            </p:cNvPr>
            <p:cNvSpPr/>
            <p:nvPr/>
          </p:nvSpPr>
          <p:spPr>
            <a:xfrm>
              <a:off x="6267451" y="1504951"/>
              <a:ext cx="830263" cy="620713"/>
            </a:xfrm>
            <a:custGeom>
              <a:avLst/>
              <a:gdLst/>
              <a:ahLst/>
              <a:cxnLst/>
              <a:rect l="l" t="t" r="r" b="b"/>
              <a:pathLst>
                <a:path w="493" h="369" extrusionOk="0">
                  <a:moveTo>
                    <a:pt x="490" y="31"/>
                  </a:moveTo>
                  <a:cubicBezTo>
                    <a:pt x="443" y="53"/>
                    <a:pt x="396" y="61"/>
                    <a:pt x="344" y="56"/>
                  </a:cubicBezTo>
                  <a:cubicBezTo>
                    <a:pt x="289" y="50"/>
                    <a:pt x="244" y="16"/>
                    <a:pt x="191" y="8"/>
                  </a:cubicBezTo>
                  <a:cubicBezTo>
                    <a:pt x="140" y="0"/>
                    <a:pt x="93" y="24"/>
                    <a:pt x="65" y="66"/>
                  </a:cubicBezTo>
                  <a:cubicBezTo>
                    <a:pt x="37" y="109"/>
                    <a:pt x="28" y="157"/>
                    <a:pt x="25" y="207"/>
                  </a:cubicBezTo>
                  <a:cubicBezTo>
                    <a:pt x="22" y="253"/>
                    <a:pt x="0" y="320"/>
                    <a:pt x="36" y="358"/>
                  </a:cubicBezTo>
                  <a:cubicBezTo>
                    <a:pt x="39" y="362"/>
                    <a:pt x="43" y="365"/>
                    <a:pt x="46" y="369"/>
                  </a:cubicBezTo>
                  <a:cubicBezTo>
                    <a:pt x="50" y="320"/>
                    <a:pt x="51" y="271"/>
                    <a:pt x="55" y="222"/>
                  </a:cubicBezTo>
                  <a:cubicBezTo>
                    <a:pt x="58" y="177"/>
                    <a:pt x="66" y="126"/>
                    <a:pt x="100" y="93"/>
                  </a:cubicBezTo>
                  <a:cubicBezTo>
                    <a:pt x="170" y="27"/>
                    <a:pt x="280" y="99"/>
                    <a:pt x="362" y="87"/>
                  </a:cubicBezTo>
                  <a:cubicBezTo>
                    <a:pt x="411" y="80"/>
                    <a:pt x="453" y="56"/>
                    <a:pt x="493" y="31"/>
                  </a:cubicBezTo>
                  <a:cubicBezTo>
                    <a:pt x="490" y="31"/>
                    <a:pt x="490" y="31"/>
                    <a:pt x="490" y="31"/>
                  </a:cubicBezTo>
                  <a:close/>
                </a:path>
              </a:pathLst>
            </a:custGeom>
            <a:solidFill>
              <a:srgbClr val="6F4E39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59" name="Google Shape;310;p3">
              <a:extLst>
                <a:ext uri="{FF2B5EF4-FFF2-40B4-BE49-F238E27FC236}">
                  <a16:creationId xmlns:a16="http://schemas.microsoft.com/office/drawing/2014/main" id="{48F674A4-1CC1-E241-4F2F-6E482E948C0D}"/>
                </a:ext>
              </a:extLst>
            </p:cNvPr>
            <p:cNvSpPr/>
            <p:nvPr/>
          </p:nvSpPr>
          <p:spPr>
            <a:xfrm>
              <a:off x="7164388" y="1492251"/>
              <a:ext cx="187325" cy="598488"/>
            </a:xfrm>
            <a:custGeom>
              <a:avLst/>
              <a:gdLst/>
              <a:ahLst/>
              <a:cxnLst/>
              <a:rect l="l" t="t" r="r" b="b"/>
              <a:pathLst>
                <a:path w="111" h="356" extrusionOk="0">
                  <a:moveTo>
                    <a:pt x="0" y="9"/>
                  </a:moveTo>
                  <a:cubicBezTo>
                    <a:pt x="43" y="31"/>
                    <a:pt x="73" y="59"/>
                    <a:pt x="79" y="111"/>
                  </a:cubicBezTo>
                  <a:cubicBezTo>
                    <a:pt x="84" y="161"/>
                    <a:pt x="86" y="218"/>
                    <a:pt x="81" y="268"/>
                  </a:cubicBezTo>
                  <a:cubicBezTo>
                    <a:pt x="79" y="297"/>
                    <a:pt x="76" y="326"/>
                    <a:pt x="77" y="356"/>
                  </a:cubicBezTo>
                  <a:cubicBezTo>
                    <a:pt x="103" y="339"/>
                    <a:pt x="95" y="309"/>
                    <a:pt x="96" y="283"/>
                  </a:cubicBezTo>
                  <a:cubicBezTo>
                    <a:pt x="98" y="254"/>
                    <a:pt x="104" y="227"/>
                    <a:pt x="106" y="199"/>
                  </a:cubicBezTo>
                  <a:cubicBezTo>
                    <a:pt x="111" y="152"/>
                    <a:pt x="106" y="74"/>
                    <a:pt x="75" y="36"/>
                  </a:cubicBezTo>
                  <a:cubicBezTo>
                    <a:pt x="56" y="13"/>
                    <a:pt x="33" y="0"/>
                    <a:pt x="3" y="6"/>
                  </a:cubicBezTo>
                  <a:cubicBezTo>
                    <a:pt x="0" y="9"/>
                    <a:pt x="0" y="9"/>
                    <a:pt x="0" y="9"/>
                  </a:cubicBezTo>
                  <a:close/>
                </a:path>
              </a:pathLst>
            </a:custGeom>
            <a:solidFill>
              <a:srgbClr val="6F4E39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60" name="Google Shape;311;p3">
              <a:extLst>
                <a:ext uri="{FF2B5EF4-FFF2-40B4-BE49-F238E27FC236}">
                  <a16:creationId xmlns:a16="http://schemas.microsoft.com/office/drawing/2014/main" id="{1066994F-FDD6-D3E0-70D9-ADD877D4B83F}"/>
                </a:ext>
              </a:extLst>
            </p:cNvPr>
            <p:cNvSpPr/>
            <p:nvPr/>
          </p:nvSpPr>
          <p:spPr>
            <a:xfrm>
              <a:off x="6332538" y="1358901"/>
              <a:ext cx="825500" cy="239713"/>
            </a:xfrm>
            <a:custGeom>
              <a:avLst/>
              <a:gdLst/>
              <a:ahLst/>
              <a:cxnLst/>
              <a:rect l="l" t="t" r="r" b="b"/>
              <a:pathLst>
                <a:path w="490" h="142" extrusionOk="0">
                  <a:moveTo>
                    <a:pt x="108" y="47"/>
                  </a:moveTo>
                  <a:cubicBezTo>
                    <a:pt x="159" y="14"/>
                    <a:pt x="223" y="4"/>
                    <a:pt x="283" y="2"/>
                  </a:cubicBezTo>
                  <a:cubicBezTo>
                    <a:pt x="340" y="0"/>
                    <a:pt x="390" y="10"/>
                    <a:pt x="441" y="38"/>
                  </a:cubicBezTo>
                  <a:cubicBezTo>
                    <a:pt x="468" y="52"/>
                    <a:pt x="490" y="69"/>
                    <a:pt x="474" y="101"/>
                  </a:cubicBezTo>
                  <a:cubicBezTo>
                    <a:pt x="430" y="44"/>
                    <a:pt x="366" y="30"/>
                    <a:pt x="295" y="32"/>
                  </a:cubicBezTo>
                  <a:cubicBezTo>
                    <a:pt x="225" y="35"/>
                    <a:pt x="153" y="50"/>
                    <a:pt x="86" y="73"/>
                  </a:cubicBezTo>
                  <a:cubicBezTo>
                    <a:pt x="50" y="85"/>
                    <a:pt x="26" y="115"/>
                    <a:pt x="0" y="142"/>
                  </a:cubicBezTo>
                  <a:cubicBezTo>
                    <a:pt x="108" y="47"/>
                    <a:pt x="108" y="47"/>
                    <a:pt x="108" y="47"/>
                  </a:cubicBezTo>
                  <a:close/>
                </a:path>
              </a:pathLst>
            </a:custGeom>
            <a:solidFill>
              <a:srgbClr val="6F4E39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61" name="Google Shape;312;p3">
              <a:extLst>
                <a:ext uri="{FF2B5EF4-FFF2-40B4-BE49-F238E27FC236}">
                  <a16:creationId xmlns:a16="http://schemas.microsoft.com/office/drawing/2014/main" id="{05A3E9FF-15F2-9C0E-AF50-240369B81067}"/>
                </a:ext>
              </a:extLst>
            </p:cNvPr>
            <p:cNvSpPr/>
            <p:nvPr/>
          </p:nvSpPr>
          <p:spPr>
            <a:xfrm>
              <a:off x="6577013" y="3209926"/>
              <a:ext cx="273050" cy="455613"/>
            </a:xfrm>
            <a:custGeom>
              <a:avLst/>
              <a:gdLst/>
              <a:ahLst/>
              <a:cxnLst/>
              <a:rect l="l" t="t" r="r" b="b"/>
              <a:pathLst>
                <a:path w="162" h="271" extrusionOk="0">
                  <a:moveTo>
                    <a:pt x="67" y="271"/>
                  </a:moveTo>
                  <a:cubicBezTo>
                    <a:pt x="74" y="225"/>
                    <a:pt x="88" y="178"/>
                    <a:pt x="99" y="137"/>
                  </a:cubicBezTo>
                  <a:cubicBezTo>
                    <a:pt x="102" y="122"/>
                    <a:pt x="100" y="109"/>
                    <a:pt x="90" y="97"/>
                  </a:cubicBezTo>
                  <a:cubicBezTo>
                    <a:pt x="84" y="108"/>
                    <a:pt x="75" y="122"/>
                    <a:pt x="67" y="130"/>
                  </a:cubicBezTo>
                  <a:cubicBezTo>
                    <a:pt x="50" y="113"/>
                    <a:pt x="35" y="93"/>
                    <a:pt x="25" y="71"/>
                  </a:cubicBezTo>
                  <a:cubicBezTo>
                    <a:pt x="16" y="49"/>
                    <a:pt x="12" y="19"/>
                    <a:pt x="0" y="0"/>
                  </a:cubicBezTo>
                  <a:cubicBezTo>
                    <a:pt x="29" y="23"/>
                    <a:pt x="39" y="62"/>
                    <a:pt x="66" y="87"/>
                  </a:cubicBezTo>
                  <a:cubicBezTo>
                    <a:pt x="70" y="58"/>
                    <a:pt x="76" y="29"/>
                    <a:pt x="86" y="2"/>
                  </a:cubicBezTo>
                  <a:cubicBezTo>
                    <a:pt x="116" y="36"/>
                    <a:pt x="123" y="92"/>
                    <a:pt x="162" y="120"/>
                  </a:cubicBezTo>
                  <a:cubicBezTo>
                    <a:pt x="159" y="135"/>
                    <a:pt x="148" y="151"/>
                    <a:pt x="142" y="166"/>
                  </a:cubicBezTo>
                  <a:cubicBezTo>
                    <a:pt x="135" y="182"/>
                    <a:pt x="130" y="200"/>
                    <a:pt x="125" y="217"/>
                  </a:cubicBezTo>
                  <a:cubicBezTo>
                    <a:pt x="119" y="235"/>
                    <a:pt x="115" y="253"/>
                    <a:pt x="112" y="271"/>
                  </a:cubicBezTo>
                  <a:cubicBezTo>
                    <a:pt x="67" y="271"/>
                    <a:pt x="67" y="271"/>
                    <a:pt x="67" y="271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62" name="Google Shape;313;p3">
              <a:extLst>
                <a:ext uri="{FF2B5EF4-FFF2-40B4-BE49-F238E27FC236}">
                  <a16:creationId xmlns:a16="http://schemas.microsoft.com/office/drawing/2014/main" id="{F97E1B76-5C17-95AF-A373-2817689E1C2E}"/>
                </a:ext>
              </a:extLst>
            </p:cNvPr>
            <p:cNvSpPr/>
            <p:nvPr/>
          </p:nvSpPr>
          <p:spPr>
            <a:xfrm>
              <a:off x="6953251" y="3157539"/>
              <a:ext cx="223838" cy="508000"/>
            </a:xfrm>
            <a:custGeom>
              <a:avLst/>
              <a:gdLst/>
              <a:ahLst/>
              <a:cxnLst/>
              <a:rect l="l" t="t" r="r" b="b"/>
              <a:pathLst>
                <a:path w="133" h="302" extrusionOk="0">
                  <a:moveTo>
                    <a:pt x="82" y="302"/>
                  </a:moveTo>
                  <a:cubicBezTo>
                    <a:pt x="76" y="274"/>
                    <a:pt x="68" y="246"/>
                    <a:pt x="56" y="218"/>
                  </a:cubicBezTo>
                  <a:cubicBezTo>
                    <a:pt x="46" y="197"/>
                    <a:pt x="35" y="177"/>
                    <a:pt x="22" y="157"/>
                  </a:cubicBezTo>
                  <a:cubicBezTo>
                    <a:pt x="6" y="133"/>
                    <a:pt x="0" y="122"/>
                    <a:pt x="17" y="96"/>
                  </a:cubicBezTo>
                  <a:cubicBezTo>
                    <a:pt x="31" y="73"/>
                    <a:pt x="46" y="54"/>
                    <a:pt x="51" y="27"/>
                  </a:cubicBezTo>
                  <a:cubicBezTo>
                    <a:pt x="74" y="48"/>
                    <a:pt x="81" y="93"/>
                    <a:pt x="87" y="120"/>
                  </a:cubicBezTo>
                  <a:cubicBezTo>
                    <a:pt x="113" y="93"/>
                    <a:pt x="125" y="36"/>
                    <a:pt x="126" y="0"/>
                  </a:cubicBezTo>
                  <a:cubicBezTo>
                    <a:pt x="133" y="18"/>
                    <a:pt x="128" y="51"/>
                    <a:pt x="127" y="72"/>
                  </a:cubicBezTo>
                  <a:cubicBezTo>
                    <a:pt x="126" y="98"/>
                    <a:pt x="126" y="125"/>
                    <a:pt x="126" y="151"/>
                  </a:cubicBezTo>
                  <a:cubicBezTo>
                    <a:pt x="126" y="202"/>
                    <a:pt x="124" y="251"/>
                    <a:pt x="124" y="302"/>
                  </a:cubicBezTo>
                  <a:cubicBezTo>
                    <a:pt x="82" y="302"/>
                    <a:pt x="82" y="302"/>
                    <a:pt x="82" y="302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63" name="Google Shape;314;p3">
              <a:extLst>
                <a:ext uri="{FF2B5EF4-FFF2-40B4-BE49-F238E27FC236}">
                  <a16:creationId xmlns:a16="http://schemas.microsoft.com/office/drawing/2014/main" id="{121988E2-D3E0-B1C2-CB4D-4790D9ECD7CB}"/>
                </a:ext>
              </a:extLst>
            </p:cNvPr>
            <p:cNvSpPr/>
            <p:nvPr/>
          </p:nvSpPr>
          <p:spPr>
            <a:xfrm>
              <a:off x="6205538" y="3371851"/>
              <a:ext cx="111125" cy="293688"/>
            </a:xfrm>
            <a:custGeom>
              <a:avLst/>
              <a:gdLst/>
              <a:ahLst/>
              <a:cxnLst/>
              <a:rect l="l" t="t" r="r" b="b"/>
              <a:pathLst>
                <a:path w="66" h="175" extrusionOk="0">
                  <a:moveTo>
                    <a:pt x="4" y="175"/>
                  </a:moveTo>
                  <a:cubicBezTo>
                    <a:pt x="5" y="162"/>
                    <a:pt x="6" y="150"/>
                    <a:pt x="6" y="137"/>
                  </a:cubicBezTo>
                  <a:cubicBezTo>
                    <a:pt x="6" y="112"/>
                    <a:pt x="0" y="89"/>
                    <a:pt x="5" y="64"/>
                  </a:cubicBezTo>
                  <a:cubicBezTo>
                    <a:pt x="8" y="50"/>
                    <a:pt x="19" y="0"/>
                    <a:pt x="39" y="20"/>
                  </a:cubicBezTo>
                  <a:cubicBezTo>
                    <a:pt x="49" y="31"/>
                    <a:pt x="51" y="58"/>
                    <a:pt x="53" y="71"/>
                  </a:cubicBezTo>
                  <a:cubicBezTo>
                    <a:pt x="57" y="94"/>
                    <a:pt x="60" y="116"/>
                    <a:pt x="63" y="139"/>
                  </a:cubicBezTo>
                  <a:cubicBezTo>
                    <a:pt x="64" y="151"/>
                    <a:pt x="65" y="163"/>
                    <a:pt x="66" y="175"/>
                  </a:cubicBezTo>
                  <a:cubicBezTo>
                    <a:pt x="4" y="175"/>
                    <a:pt x="4" y="175"/>
                    <a:pt x="4" y="175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64" name="Google Shape;315;p3">
              <a:extLst>
                <a:ext uri="{FF2B5EF4-FFF2-40B4-BE49-F238E27FC236}">
                  <a16:creationId xmlns:a16="http://schemas.microsoft.com/office/drawing/2014/main" id="{61AC2789-FAC3-FF58-9608-5D00D58FA67C}"/>
                </a:ext>
              </a:extLst>
            </p:cNvPr>
            <p:cNvSpPr/>
            <p:nvPr/>
          </p:nvSpPr>
          <p:spPr>
            <a:xfrm>
              <a:off x="7419976" y="3348039"/>
              <a:ext cx="147638" cy="317500"/>
            </a:xfrm>
            <a:custGeom>
              <a:avLst/>
              <a:gdLst/>
              <a:ahLst/>
              <a:cxnLst/>
              <a:rect l="l" t="t" r="r" b="b"/>
              <a:pathLst>
                <a:path w="88" h="189" extrusionOk="0">
                  <a:moveTo>
                    <a:pt x="26" y="189"/>
                  </a:moveTo>
                  <a:cubicBezTo>
                    <a:pt x="25" y="174"/>
                    <a:pt x="22" y="160"/>
                    <a:pt x="16" y="147"/>
                  </a:cubicBezTo>
                  <a:cubicBezTo>
                    <a:pt x="0" y="112"/>
                    <a:pt x="16" y="79"/>
                    <a:pt x="27" y="44"/>
                  </a:cubicBezTo>
                  <a:cubicBezTo>
                    <a:pt x="30" y="35"/>
                    <a:pt x="34" y="9"/>
                    <a:pt x="44" y="5"/>
                  </a:cubicBezTo>
                  <a:cubicBezTo>
                    <a:pt x="60" y="0"/>
                    <a:pt x="62" y="28"/>
                    <a:pt x="64" y="38"/>
                  </a:cubicBezTo>
                  <a:cubicBezTo>
                    <a:pt x="67" y="61"/>
                    <a:pt x="66" y="84"/>
                    <a:pt x="72" y="107"/>
                  </a:cubicBezTo>
                  <a:cubicBezTo>
                    <a:pt x="76" y="127"/>
                    <a:pt x="83" y="146"/>
                    <a:pt x="86" y="166"/>
                  </a:cubicBezTo>
                  <a:cubicBezTo>
                    <a:pt x="87" y="173"/>
                    <a:pt x="87" y="181"/>
                    <a:pt x="88" y="189"/>
                  </a:cubicBezTo>
                  <a:cubicBezTo>
                    <a:pt x="26" y="189"/>
                    <a:pt x="26" y="189"/>
                    <a:pt x="26" y="189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65" name="Google Shape;316;p3">
              <a:extLst>
                <a:ext uri="{FF2B5EF4-FFF2-40B4-BE49-F238E27FC236}">
                  <a16:creationId xmlns:a16="http://schemas.microsoft.com/office/drawing/2014/main" id="{E2B98AEB-37FE-3ED9-AB4F-0A636070C622}"/>
                </a:ext>
              </a:extLst>
            </p:cNvPr>
            <p:cNvSpPr/>
            <p:nvPr/>
          </p:nvSpPr>
          <p:spPr>
            <a:xfrm>
              <a:off x="7624763" y="3411539"/>
              <a:ext cx="92075" cy="254000"/>
            </a:xfrm>
            <a:custGeom>
              <a:avLst/>
              <a:gdLst/>
              <a:ahLst/>
              <a:cxnLst/>
              <a:rect l="l" t="t" r="r" b="b"/>
              <a:pathLst>
                <a:path w="55" h="151" extrusionOk="0">
                  <a:moveTo>
                    <a:pt x="29" y="151"/>
                  </a:moveTo>
                  <a:cubicBezTo>
                    <a:pt x="27" y="131"/>
                    <a:pt x="24" y="112"/>
                    <a:pt x="21" y="93"/>
                  </a:cubicBezTo>
                  <a:cubicBezTo>
                    <a:pt x="18" y="74"/>
                    <a:pt x="13" y="56"/>
                    <a:pt x="10" y="38"/>
                  </a:cubicBezTo>
                  <a:cubicBezTo>
                    <a:pt x="8" y="27"/>
                    <a:pt x="0" y="8"/>
                    <a:pt x="6" y="0"/>
                  </a:cubicBezTo>
                  <a:cubicBezTo>
                    <a:pt x="29" y="33"/>
                    <a:pt x="38" y="84"/>
                    <a:pt x="49" y="123"/>
                  </a:cubicBezTo>
                  <a:cubicBezTo>
                    <a:pt x="51" y="132"/>
                    <a:pt x="53" y="141"/>
                    <a:pt x="55" y="151"/>
                  </a:cubicBezTo>
                  <a:cubicBezTo>
                    <a:pt x="29" y="151"/>
                    <a:pt x="29" y="151"/>
                    <a:pt x="29" y="151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66" name="Google Shape;317;p3">
              <a:extLst>
                <a:ext uri="{FF2B5EF4-FFF2-40B4-BE49-F238E27FC236}">
                  <a16:creationId xmlns:a16="http://schemas.microsoft.com/office/drawing/2014/main" id="{52A12731-B7D6-D03A-8461-80A6F7A78C00}"/>
                </a:ext>
              </a:extLst>
            </p:cNvPr>
            <p:cNvSpPr/>
            <p:nvPr/>
          </p:nvSpPr>
          <p:spPr>
            <a:xfrm>
              <a:off x="6888163" y="3367089"/>
              <a:ext cx="212725" cy="298450"/>
            </a:xfrm>
            <a:custGeom>
              <a:avLst/>
              <a:gdLst/>
              <a:ahLst/>
              <a:cxnLst/>
              <a:rect l="l" t="t" r="r" b="b"/>
              <a:pathLst>
                <a:path w="126" h="178" extrusionOk="0">
                  <a:moveTo>
                    <a:pt x="126" y="178"/>
                  </a:moveTo>
                  <a:cubicBezTo>
                    <a:pt x="122" y="161"/>
                    <a:pt x="117" y="144"/>
                    <a:pt x="111" y="127"/>
                  </a:cubicBezTo>
                  <a:cubicBezTo>
                    <a:pt x="97" y="90"/>
                    <a:pt x="84" y="42"/>
                    <a:pt x="54" y="15"/>
                  </a:cubicBezTo>
                  <a:cubicBezTo>
                    <a:pt x="37" y="0"/>
                    <a:pt x="22" y="17"/>
                    <a:pt x="2" y="21"/>
                  </a:cubicBezTo>
                  <a:cubicBezTo>
                    <a:pt x="0" y="39"/>
                    <a:pt x="23" y="74"/>
                    <a:pt x="32" y="89"/>
                  </a:cubicBezTo>
                  <a:cubicBezTo>
                    <a:pt x="36" y="96"/>
                    <a:pt x="44" y="113"/>
                    <a:pt x="54" y="111"/>
                  </a:cubicBezTo>
                  <a:cubicBezTo>
                    <a:pt x="66" y="110"/>
                    <a:pt x="65" y="88"/>
                    <a:pt x="62" y="80"/>
                  </a:cubicBezTo>
                  <a:cubicBezTo>
                    <a:pt x="78" y="81"/>
                    <a:pt x="86" y="135"/>
                    <a:pt x="91" y="178"/>
                  </a:cubicBezTo>
                  <a:cubicBezTo>
                    <a:pt x="126" y="178"/>
                    <a:pt x="126" y="178"/>
                    <a:pt x="126" y="178"/>
                  </a:cubicBezTo>
                  <a:close/>
                </a:path>
              </a:pathLst>
            </a:custGeom>
            <a:solidFill>
              <a:srgbClr val="409DAD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67" name="Google Shape;318;p3">
              <a:extLst>
                <a:ext uri="{FF2B5EF4-FFF2-40B4-BE49-F238E27FC236}">
                  <a16:creationId xmlns:a16="http://schemas.microsoft.com/office/drawing/2014/main" id="{0B3A873A-506B-7D98-0C38-AB831B37745A}"/>
                </a:ext>
              </a:extLst>
            </p:cNvPr>
            <p:cNvSpPr/>
            <p:nvPr/>
          </p:nvSpPr>
          <p:spPr>
            <a:xfrm>
              <a:off x="6754813" y="3408364"/>
              <a:ext cx="107950" cy="257175"/>
            </a:xfrm>
            <a:custGeom>
              <a:avLst/>
              <a:gdLst/>
              <a:ahLst/>
              <a:cxnLst/>
              <a:rect l="l" t="t" r="r" b="b"/>
              <a:pathLst>
                <a:path w="65" h="153" extrusionOk="0">
                  <a:moveTo>
                    <a:pt x="65" y="0"/>
                  </a:moveTo>
                  <a:cubicBezTo>
                    <a:pt x="42" y="45"/>
                    <a:pt x="40" y="100"/>
                    <a:pt x="39" y="153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6" y="114"/>
                    <a:pt x="21" y="82"/>
                    <a:pt x="35" y="47"/>
                  </a:cubicBezTo>
                  <a:cubicBezTo>
                    <a:pt x="42" y="32"/>
                    <a:pt x="48" y="15"/>
                    <a:pt x="56" y="0"/>
                  </a:cubicBezTo>
                  <a:cubicBezTo>
                    <a:pt x="65" y="0"/>
                    <a:pt x="65" y="0"/>
                    <a:pt x="65" y="0"/>
                  </a:cubicBezTo>
                  <a:close/>
                </a:path>
              </a:pathLst>
            </a:custGeom>
            <a:solidFill>
              <a:srgbClr val="409DAD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68" name="Google Shape;319;p3">
              <a:extLst>
                <a:ext uri="{FF2B5EF4-FFF2-40B4-BE49-F238E27FC236}">
                  <a16:creationId xmlns:a16="http://schemas.microsoft.com/office/drawing/2014/main" id="{D31A880E-6806-B4FE-4111-AB843C9A2807}"/>
                </a:ext>
              </a:extLst>
            </p:cNvPr>
            <p:cNvSpPr/>
            <p:nvPr/>
          </p:nvSpPr>
          <p:spPr>
            <a:xfrm>
              <a:off x="6715126" y="3076576"/>
              <a:ext cx="330200" cy="330200"/>
            </a:xfrm>
            <a:custGeom>
              <a:avLst/>
              <a:gdLst/>
              <a:ahLst/>
              <a:cxnLst/>
              <a:rect l="l" t="t" r="r" b="b"/>
              <a:pathLst>
                <a:path w="196" h="196" extrusionOk="0">
                  <a:moveTo>
                    <a:pt x="187" y="63"/>
                  </a:moveTo>
                  <a:cubicBezTo>
                    <a:pt x="182" y="47"/>
                    <a:pt x="155" y="0"/>
                    <a:pt x="133" y="17"/>
                  </a:cubicBezTo>
                  <a:cubicBezTo>
                    <a:pt x="163" y="48"/>
                    <a:pt x="161" y="95"/>
                    <a:pt x="156" y="136"/>
                  </a:cubicBezTo>
                  <a:cubicBezTo>
                    <a:pt x="150" y="141"/>
                    <a:pt x="145" y="145"/>
                    <a:pt x="139" y="149"/>
                  </a:cubicBezTo>
                  <a:cubicBezTo>
                    <a:pt x="105" y="169"/>
                    <a:pt x="73" y="165"/>
                    <a:pt x="55" y="131"/>
                  </a:cubicBezTo>
                  <a:cubicBezTo>
                    <a:pt x="38" y="98"/>
                    <a:pt x="25" y="66"/>
                    <a:pt x="27" y="29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8" y="55"/>
                    <a:pt x="0" y="78"/>
                    <a:pt x="8" y="101"/>
                  </a:cubicBezTo>
                  <a:cubicBezTo>
                    <a:pt x="19" y="130"/>
                    <a:pt x="56" y="182"/>
                    <a:pt x="88" y="188"/>
                  </a:cubicBezTo>
                  <a:cubicBezTo>
                    <a:pt x="126" y="196"/>
                    <a:pt x="162" y="163"/>
                    <a:pt x="173" y="128"/>
                  </a:cubicBezTo>
                  <a:cubicBezTo>
                    <a:pt x="186" y="108"/>
                    <a:pt x="196" y="87"/>
                    <a:pt x="187" y="63"/>
                  </a:cubicBezTo>
                  <a:close/>
                </a:path>
              </a:pathLst>
            </a:custGeom>
            <a:solidFill>
              <a:srgbClr val="409DAD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69" name="Google Shape;320;p3">
              <a:extLst>
                <a:ext uri="{FF2B5EF4-FFF2-40B4-BE49-F238E27FC236}">
                  <a16:creationId xmlns:a16="http://schemas.microsoft.com/office/drawing/2014/main" id="{AD58F53C-9E97-7801-0DCD-04815B7B379B}"/>
                </a:ext>
              </a:extLst>
            </p:cNvPr>
            <p:cNvSpPr/>
            <p:nvPr/>
          </p:nvSpPr>
          <p:spPr>
            <a:xfrm>
              <a:off x="6938963" y="2916239"/>
              <a:ext cx="158750" cy="201613"/>
            </a:xfrm>
            <a:custGeom>
              <a:avLst/>
              <a:gdLst/>
              <a:ahLst/>
              <a:cxnLst/>
              <a:rect l="l" t="t" r="r" b="b"/>
              <a:pathLst>
                <a:path w="94" h="120" extrusionOk="0">
                  <a:moveTo>
                    <a:pt x="0" y="102"/>
                  </a:moveTo>
                  <a:cubicBezTo>
                    <a:pt x="17" y="91"/>
                    <a:pt x="31" y="77"/>
                    <a:pt x="45" y="61"/>
                  </a:cubicBezTo>
                  <a:cubicBezTo>
                    <a:pt x="55" y="50"/>
                    <a:pt x="62" y="19"/>
                    <a:pt x="74" y="12"/>
                  </a:cubicBezTo>
                  <a:cubicBezTo>
                    <a:pt x="94" y="0"/>
                    <a:pt x="84" y="39"/>
                    <a:pt x="80" y="48"/>
                  </a:cubicBezTo>
                  <a:cubicBezTo>
                    <a:pt x="73" y="64"/>
                    <a:pt x="61" y="80"/>
                    <a:pt x="50" y="93"/>
                  </a:cubicBezTo>
                  <a:cubicBezTo>
                    <a:pt x="37" y="109"/>
                    <a:pt x="26" y="120"/>
                    <a:pt x="5" y="108"/>
                  </a:cubicBezTo>
                  <a:cubicBezTo>
                    <a:pt x="0" y="102"/>
                    <a:pt x="0" y="102"/>
                    <a:pt x="0" y="102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70" name="Google Shape;321;p3">
              <a:extLst>
                <a:ext uri="{FF2B5EF4-FFF2-40B4-BE49-F238E27FC236}">
                  <a16:creationId xmlns:a16="http://schemas.microsoft.com/office/drawing/2014/main" id="{FD1D1ABD-972C-054D-6EB0-387536300D84}"/>
                </a:ext>
              </a:extLst>
            </p:cNvPr>
            <p:cNvSpPr/>
            <p:nvPr/>
          </p:nvSpPr>
          <p:spPr>
            <a:xfrm>
              <a:off x="6600826" y="2932114"/>
              <a:ext cx="177800" cy="184150"/>
            </a:xfrm>
            <a:custGeom>
              <a:avLst/>
              <a:gdLst/>
              <a:ahLst/>
              <a:cxnLst/>
              <a:rect l="l" t="t" r="r" b="b"/>
              <a:pathLst>
                <a:path w="106" h="109" extrusionOk="0">
                  <a:moveTo>
                    <a:pt x="0" y="0"/>
                  </a:moveTo>
                  <a:cubicBezTo>
                    <a:pt x="7" y="25"/>
                    <a:pt x="20" y="44"/>
                    <a:pt x="36" y="64"/>
                  </a:cubicBezTo>
                  <a:cubicBezTo>
                    <a:pt x="50" y="81"/>
                    <a:pt x="74" y="92"/>
                    <a:pt x="85" y="109"/>
                  </a:cubicBezTo>
                  <a:cubicBezTo>
                    <a:pt x="92" y="104"/>
                    <a:pt x="99" y="100"/>
                    <a:pt x="106" y="95"/>
                  </a:cubicBezTo>
                  <a:cubicBezTo>
                    <a:pt x="98" y="76"/>
                    <a:pt x="67" y="70"/>
                    <a:pt x="52" y="57"/>
                  </a:cubicBezTo>
                  <a:cubicBezTo>
                    <a:pt x="33" y="42"/>
                    <a:pt x="20" y="23"/>
                    <a:pt x="9" y="3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71" name="Google Shape;322;p3">
              <a:extLst>
                <a:ext uri="{FF2B5EF4-FFF2-40B4-BE49-F238E27FC236}">
                  <a16:creationId xmlns:a16="http://schemas.microsoft.com/office/drawing/2014/main" id="{C77A9222-C308-4774-5C3A-AB64E959B628}"/>
                </a:ext>
              </a:extLst>
            </p:cNvPr>
            <p:cNvSpPr/>
            <p:nvPr/>
          </p:nvSpPr>
          <p:spPr>
            <a:xfrm>
              <a:off x="6527801" y="1804989"/>
              <a:ext cx="260350" cy="342900"/>
            </a:xfrm>
            <a:custGeom>
              <a:avLst/>
              <a:gdLst/>
              <a:ahLst/>
              <a:cxnLst/>
              <a:rect l="l" t="t" r="r" b="b"/>
              <a:pathLst>
                <a:path w="154" h="204" extrusionOk="0">
                  <a:moveTo>
                    <a:pt x="9" y="78"/>
                  </a:moveTo>
                  <a:cubicBezTo>
                    <a:pt x="7" y="58"/>
                    <a:pt x="52" y="48"/>
                    <a:pt x="66" y="40"/>
                  </a:cubicBezTo>
                  <a:cubicBezTo>
                    <a:pt x="86" y="29"/>
                    <a:pt x="105" y="18"/>
                    <a:pt x="119" y="0"/>
                  </a:cubicBezTo>
                  <a:cubicBezTo>
                    <a:pt x="121" y="22"/>
                    <a:pt x="133" y="35"/>
                    <a:pt x="142" y="53"/>
                  </a:cubicBezTo>
                  <a:cubicBezTo>
                    <a:pt x="153" y="74"/>
                    <a:pt x="154" y="94"/>
                    <a:pt x="152" y="116"/>
                  </a:cubicBezTo>
                  <a:cubicBezTo>
                    <a:pt x="150" y="139"/>
                    <a:pt x="144" y="159"/>
                    <a:pt x="135" y="180"/>
                  </a:cubicBezTo>
                  <a:cubicBezTo>
                    <a:pt x="125" y="204"/>
                    <a:pt x="110" y="204"/>
                    <a:pt x="85" y="198"/>
                  </a:cubicBezTo>
                  <a:cubicBezTo>
                    <a:pt x="66" y="194"/>
                    <a:pt x="30" y="172"/>
                    <a:pt x="63" y="156"/>
                  </a:cubicBezTo>
                  <a:cubicBezTo>
                    <a:pt x="48" y="154"/>
                    <a:pt x="0" y="110"/>
                    <a:pt x="9" y="99"/>
                  </a:cubicBezTo>
                  <a:cubicBezTo>
                    <a:pt x="9" y="78"/>
                    <a:pt x="9" y="78"/>
                    <a:pt x="9" y="78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72" name="Google Shape;323;p3">
              <a:extLst>
                <a:ext uri="{FF2B5EF4-FFF2-40B4-BE49-F238E27FC236}">
                  <a16:creationId xmlns:a16="http://schemas.microsoft.com/office/drawing/2014/main" id="{B7490943-DC35-EAFB-5737-F9444D60FB9E}"/>
                </a:ext>
              </a:extLst>
            </p:cNvPr>
            <p:cNvSpPr/>
            <p:nvPr/>
          </p:nvSpPr>
          <p:spPr>
            <a:xfrm>
              <a:off x="6878638" y="1776414"/>
              <a:ext cx="241300" cy="361950"/>
            </a:xfrm>
            <a:custGeom>
              <a:avLst/>
              <a:gdLst/>
              <a:ahLst/>
              <a:cxnLst/>
              <a:rect l="l" t="t" r="r" b="b"/>
              <a:pathLst>
                <a:path w="143" h="215" extrusionOk="0">
                  <a:moveTo>
                    <a:pt x="26" y="0"/>
                  </a:moveTo>
                  <a:cubicBezTo>
                    <a:pt x="12" y="52"/>
                    <a:pt x="0" y="93"/>
                    <a:pt x="13" y="147"/>
                  </a:cubicBezTo>
                  <a:cubicBezTo>
                    <a:pt x="18" y="168"/>
                    <a:pt x="22" y="190"/>
                    <a:pt x="42" y="202"/>
                  </a:cubicBezTo>
                  <a:cubicBezTo>
                    <a:pt x="61" y="212"/>
                    <a:pt x="92" y="215"/>
                    <a:pt x="110" y="202"/>
                  </a:cubicBezTo>
                  <a:cubicBezTo>
                    <a:pt x="143" y="179"/>
                    <a:pt x="120" y="158"/>
                    <a:pt x="89" y="161"/>
                  </a:cubicBezTo>
                  <a:cubicBezTo>
                    <a:pt x="89" y="161"/>
                    <a:pt x="89" y="161"/>
                    <a:pt x="89" y="161"/>
                  </a:cubicBezTo>
                  <a:cubicBezTo>
                    <a:pt x="100" y="146"/>
                    <a:pt x="118" y="156"/>
                    <a:pt x="130" y="145"/>
                  </a:cubicBezTo>
                  <a:cubicBezTo>
                    <a:pt x="141" y="135"/>
                    <a:pt x="133" y="116"/>
                    <a:pt x="128" y="104"/>
                  </a:cubicBezTo>
                  <a:cubicBezTo>
                    <a:pt x="115" y="78"/>
                    <a:pt x="88" y="62"/>
                    <a:pt x="67" y="44"/>
                  </a:cubicBezTo>
                  <a:cubicBezTo>
                    <a:pt x="55" y="34"/>
                    <a:pt x="43" y="24"/>
                    <a:pt x="34" y="11"/>
                  </a:cubicBezTo>
                  <a:cubicBezTo>
                    <a:pt x="26" y="0"/>
                    <a:pt x="26" y="0"/>
                    <a:pt x="26" y="0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73" name="Google Shape;324;p3">
              <a:extLst>
                <a:ext uri="{FF2B5EF4-FFF2-40B4-BE49-F238E27FC236}">
                  <a16:creationId xmlns:a16="http://schemas.microsoft.com/office/drawing/2014/main" id="{990A736C-50AD-30BD-98CE-BD06AFEF9C10}"/>
                </a:ext>
              </a:extLst>
            </p:cNvPr>
            <p:cNvSpPr/>
            <p:nvPr/>
          </p:nvSpPr>
          <p:spPr>
            <a:xfrm>
              <a:off x="6530976" y="2138364"/>
              <a:ext cx="219075" cy="487363"/>
            </a:xfrm>
            <a:custGeom>
              <a:avLst/>
              <a:gdLst/>
              <a:ahLst/>
              <a:cxnLst/>
              <a:rect l="l" t="t" r="r" b="b"/>
              <a:pathLst>
                <a:path w="130" h="290" extrusionOk="0">
                  <a:moveTo>
                    <a:pt x="130" y="0"/>
                  </a:moveTo>
                  <a:cubicBezTo>
                    <a:pt x="100" y="26"/>
                    <a:pt x="63" y="48"/>
                    <a:pt x="40" y="81"/>
                  </a:cubicBezTo>
                  <a:cubicBezTo>
                    <a:pt x="20" y="110"/>
                    <a:pt x="6" y="151"/>
                    <a:pt x="2" y="186"/>
                  </a:cubicBezTo>
                  <a:cubicBezTo>
                    <a:pt x="0" y="207"/>
                    <a:pt x="16" y="290"/>
                    <a:pt x="53" y="265"/>
                  </a:cubicBezTo>
                  <a:cubicBezTo>
                    <a:pt x="81" y="247"/>
                    <a:pt x="44" y="180"/>
                    <a:pt x="44" y="155"/>
                  </a:cubicBezTo>
                  <a:cubicBezTo>
                    <a:pt x="44" y="111"/>
                    <a:pt x="83" y="81"/>
                    <a:pt x="117" y="61"/>
                  </a:cubicBezTo>
                  <a:cubicBezTo>
                    <a:pt x="112" y="45"/>
                    <a:pt x="120" y="27"/>
                    <a:pt x="129" y="15"/>
                  </a:cubicBezTo>
                  <a:cubicBezTo>
                    <a:pt x="130" y="0"/>
                    <a:pt x="130" y="0"/>
                    <a:pt x="130" y="0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74" name="Google Shape;325;p3">
              <a:extLst>
                <a:ext uri="{FF2B5EF4-FFF2-40B4-BE49-F238E27FC236}">
                  <a16:creationId xmlns:a16="http://schemas.microsoft.com/office/drawing/2014/main" id="{58405C2E-D74C-1D43-BC98-F350B1F1E24B}"/>
                </a:ext>
              </a:extLst>
            </p:cNvPr>
            <p:cNvSpPr/>
            <p:nvPr/>
          </p:nvSpPr>
          <p:spPr>
            <a:xfrm>
              <a:off x="6611938" y="2155826"/>
              <a:ext cx="542925" cy="400050"/>
            </a:xfrm>
            <a:custGeom>
              <a:avLst/>
              <a:gdLst/>
              <a:ahLst/>
              <a:cxnLst/>
              <a:rect l="l" t="t" r="r" b="b"/>
              <a:pathLst>
                <a:path w="322" h="238" extrusionOk="0">
                  <a:moveTo>
                    <a:pt x="210" y="0"/>
                  </a:moveTo>
                  <a:cubicBezTo>
                    <a:pt x="271" y="12"/>
                    <a:pt x="296" y="70"/>
                    <a:pt x="309" y="126"/>
                  </a:cubicBezTo>
                  <a:cubicBezTo>
                    <a:pt x="316" y="152"/>
                    <a:pt x="322" y="197"/>
                    <a:pt x="303" y="219"/>
                  </a:cubicBezTo>
                  <a:cubicBezTo>
                    <a:pt x="287" y="238"/>
                    <a:pt x="261" y="221"/>
                    <a:pt x="242" y="216"/>
                  </a:cubicBezTo>
                  <a:cubicBezTo>
                    <a:pt x="182" y="202"/>
                    <a:pt x="122" y="203"/>
                    <a:pt x="63" y="220"/>
                  </a:cubicBezTo>
                  <a:cubicBezTo>
                    <a:pt x="38" y="227"/>
                    <a:pt x="4" y="229"/>
                    <a:pt x="2" y="194"/>
                  </a:cubicBezTo>
                  <a:cubicBezTo>
                    <a:pt x="0" y="161"/>
                    <a:pt x="31" y="139"/>
                    <a:pt x="59" y="128"/>
                  </a:cubicBezTo>
                  <a:cubicBezTo>
                    <a:pt x="121" y="104"/>
                    <a:pt x="184" y="103"/>
                    <a:pt x="249" y="118"/>
                  </a:cubicBezTo>
                  <a:cubicBezTo>
                    <a:pt x="257" y="120"/>
                    <a:pt x="264" y="121"/>
                    <a:pt x="271" y="123"/>
                  </a:cubicBezTo>
                  <a:cubicBezTo>
                    <a:pt x="276" y="95"/>
                    <a:pt x="238" y="39"/>
                    <a:pt x="210" y="32"/>
                  </a:cubicBezTo>
                  <a:cubicBezTo>
                    <a:pt x="214" y="24"/>
                    <a:pt x="210" y="8"/>
                    <a:pt x="205" y="4"/>
                  </a:cubicBezTo>
                  <a:cubicBezTo>
                    <a:pt x="210" y="0"/>
                    <a:pt x="210" y="0"/>
                    <a:pt x="210" y="0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75" name="Google Shape;326;p3">
              <a:extLst>
                <a:ext uri="{FF2B5EF4-FFF2-40B4-BE49-F238E27FC236}">
                  <a16:creationId xmlns:a16="http://schemas.microsoft.com/office/drawing/2014/main" id="{3BFB65FE-7D47-B226-D980-B4BB4F962903}"/>
                </a:ext>
              </a:extLst>
            </p:cNvPr>
            <p:cNvSpPr/>
            <p:nvPr/>
          </p:nvSpPr>
          <p:spPr>
            <a:xfrm>
              <a:off x="6740526" y="2528889"/>
              <a:ext cx="258763" cy="112713"/>
            </a:xfrm>
            <a:custGeom>
              <a:avLst/>
              <a:gdLst/>
              <a:ahLst/>
              <a:cxnLst/>
              <a:rect l="l" t="t" r="r" b="b"/>
              <a:pathLst>
                <a:path w="154" h="67" extrusionOk="0">
                  <a:moveTo>
                    <a:pt x="137" y="19"/>
                  </a:moveTo>
                  <a:cubicBezTo>
                    <a:pt x="105" y="12"/>
                    <a:pt x="41" y="0"/>
                    <a:pt x="17" y="29"/>
                  </a:cubicBezTo>
                  <a:cubicBezTo>
                    <a:pt x="0" y="51"/>
                    <a:pt x="18" y="67"/>
                    <a:pt x="41" y="65"/>
                  </a:cubicBezTo>
                  <a:cubicBezTo>
                    <a:pt x="64" y="63"/>
                    <a:pt x="85" y="58"/>
                    <a:pt x="108" y="57"/>
                  </a:cubicBezTo>
                  <a:cubicBezTo>
                    <a:pt x="129" y="57"/>
                    <a:pt x="154" y="49"/>
                    <a:pt x="145" y="24"/>
                  </a:cubicBezTo>
                  <a:cubicBezTo>
                    <a:pt x="137" y="19"/>
                    <a:pt x="137" y="19"/>
                    <a:pt x="137" y="19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76" name="Google Shape;327;p3">
              <a:extLst>
                <a:ext uri="{FF2B5EF4-FFF2-40B4-BE49-F238E27FC236}">
                  <a16:creationId xmlns:a16="http://schemas.microsoft.com/office/drawing/2014/main" id="{1A820437-7729-4708-2315-1C490B466292}"/>
                </a:ext>
              </a:extLst>
            </p:cNvPr>
            <p:cNvSpPr/>
            <p:nvPr/>
          </p:nvSpPr>
          <p:spPr>
            <a:xfrm>
              <a:off x="6589713" y="1903414"/>
              <a:ext cx="195263" cy="174625"/>
            </a:xfrm>
            <a:custGeom>
              <a:avLst/>
              <a:gdLst/>
              <a:ahLst/>
              <a:cxnLst/>
              <a:rect l="l" t="t" r="r" b="b"/>
              <a:pathLst>
                <a:path w="116" h="104" extrusionOk="0">
                  <a:moveTo>
                    <a:pt x="116" y="23"/>
                  </a:moveTo>
                  <a:cubicBezTo>
                    <a:pt x="96" y="0"/>
                    <a:pt x="36" y="5"/>
                    <a:pt x="21" y="33"/>
                  </a:cubicBezTo>
                  <a:cubicBezTo>
                    <a:pt x="0" y="73"/>
                    <a:pt x="52" y="104"/>
                    <a:pt x="83" y="87"/>
                  </a:cubicBezTo>
                  <a:cubicBezTo>
                    <a:pt x="99" y="77"/>
                    <a:pt x="107" y="58"/>
                    <a:pt x="114" y="40"/>
                  </a:cubicBezTo>
                  <a:cubicBezTo>
                    <a:pt x="116" y="23"/>
                    <a:pt x="116" y="23"/>
                    <a:pt x="116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77" name="Google Shape;328;p3">
              <a:extLst>
                <a:ext uri="{FF2B5EF4-FFF2-40B4-BE49-F238E27FC236}">
                  <a16:creationId xmlns:a16="http://schemas.microsoft.com/office/drawing/2014/main" id="{475E054D-6C57-78B1-7371-929034E37780}"/>
                </a:ext>
              </a:extLst>
            </p:cNvPr>
            <p:cNvSpPr/>
            <p:nvPr/>
          </p:nvSpPr>
          <p:spPr>
            <a:xfrm>
              <a:off x="6927851" y="1890714"/>
              <a:ext cx="149225" cy="153988"/>
            </a:xfrm>
            <a:custGeom>
              <a:avLst/>
              <a:gdLst/>
              <a:ahLst/>
              <a:cxnLst/>
              <a:rect l="l" t="t" r="r" b="b"/>
              <a:pathLst>
                <a:path w="89" h="92" extrusionOk="0">
                  <a:moveTo>
                    <a:pt x="87" y="24"/>
                  </a:moveTo>
                  <a:cubicBezTo>
                    <a:pt x="71" y="0"/>
                    <a:pt x="20" y="5"/>
                    <a:pt x="0" y="23"/>
                  </a:cubicBezTo>
                  <a:cubicBezTo>
                    <a:pt x="5" y="48"/>
                    <a:pt x="8" y="78"/>
                    <a:pt x="38" y="85"/>
                  </a:cubicBezTo>
                  <a:cubicBezTo>
                    <a:pt x="70" y="92"/>
                    <a:pt x="81" y="64"/>
                    <a:pt x="89" y="40"/>
                  </a:cubicBezTo>
                  <a:cubicBezTo>
                    <a:pt x="87" y="24"/>
                    <a:pt x="87" y="24"/>
                    <a:pt x="87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78" name="Google Shape;329;p3">
              <a:extLst>
                <a:ext uri="{FF2B5EF4-FFF2-40B4-BE49-F238E27FC236}">
                  <a16:creationId xmlns:a16="http://schemas.microsoft.com/office/drawing/2014/main" id="{2772F312-20A7-22D1-9D09-DA46DDF42458}"/>
                </a:ext>
              </a:extLst>
            </p:cNvPr>
            <p:cNvSpPr/>
            <p:nvPr/>
          </p:nvSpPr>
          <p:spPr>
            <a:xfrm>
              <a:off x="6645276" y="2349501"/>
              <a:ext cx="460375" cy="176213"/>
            </a:xfrm>
            <a:custGeom>
              <a:avLst/>
              <a:gdLst/>
              <a:ahLst/>
              <a:cxnLst/>
              <a:rect l="l" t="t" r="r" b="b"/>
              <a:pathLst>
                <a:path w="274" h="105" extrusionOk="0">
                  <a:moveTo>
                    <a:pt x="0" y="92"/>
                  </a:moveTo>
                  <a:cubicBezTo>
                    <a:pt x="7" y="1"/>
                    <a:pt x="117" y="0"/>
                    <a:pt x="189" y="8"/>
                  </a:cubicBezTo>
                  <a:cubicBezTo>
                    <a:pt x="216" y="12"/>
                    <a:pt x="274" y="35"/>
                    <a:pt x="247" y="73"/>
                  </a:cubicBezTo>
                  <a:cubicBezTo>
                    <a:pt x="223" y="105"/>
                    <a:pt x="163" y="73"/>
                    <a:pt x="132" y="71"/>
                  </a:cubicBezTo>
                  <a:cubicBezTo>
                    <a:pt x="91" y="69"/>
                    <a:pt x="48" y="86"/>
                    <a:pt x="8" y="97"/>
                  </a:cubicBezTo>
                  <a:cubicBezTo>
                    <a:pt x="0" y="92"/>
                    <a:pt x="0" y="92"/>
                    <a:pt x="0" y="92"/>
                  </a:cubicBezTo>
                  <a:close/>
                </a:path>
              </a:pathLst>
            </a:custGeom>
            <a:solidFill>
              <a:srgbClr val="64646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79" name="Google Shape;330;p3">
              <a:extLst>
                <a:ext uri="{FF2B5EF4-FFF2-40B4-BE49-F238E27FC236}">
                  <a16:creationId xmlns:a16="http://schemas.microsoft.com/office/drawing/2014/main" id="{25A5C943-AE10-2CFB-97D2-9CCE36126F08}"/>
                </a:ext>
              </a:extLst>
            </p:cNvPr>
            <p:cNvSpPr/>
            <p:nvPr/>
          </p:nvSpPr>
          <p:spPr>
            <a:xfrm>
              <a:off x="6640513" y="2349501"/>
              <a:ext cx="414338" cy="112713"/>
            </a:xfrm>
            <a:custGeom>
              <a:avLst/>
              <a:gdLst/>
              <a:ahLst/>
              <a:cxnLst/>
              <a:rect l="l" t="t" r="r" b="b"/>
              <a:pathLst>
                <a:path w="246" h="67" extrusionOk="0">
                  <a:moveTo>
                    <a:pt x="0" y="67"/>
                  </a:moveTo>
                  <a:cubicBezTo>
                    <a:pt x="23" y="46"/>
                    <a:pt x="62" y="41"/>
                    <a:pt x="91" y="36"/>
                  </a:cubicBezTo>
                  <a:cubicBezTo>
                    <a:pt x="122" y="32"/>
                    <a:pt x="157" y="31"/>
                    <a:pt x="188" y="29"/>
                  </a:cubicBezTo>
                  <a:cubicBezTo>
                    <a:pt x="208" y="28"/>
                    <a:pt x="227" y="32"/>
                    <a:pt x="246" y="33"/>
                  </a:cubicBezTo>
                  <a:cubicBezTo>
                    <a:pt x="228" y="10"/>
                    <a:pt x="176" y="0"/>
                    <a:pt x="148" y="1"/>
                  </a:cubicBezTo>
                  <a:cubicBezTo>
                    <a:pt x="114" y="3"/>
                    <a:pt x="68" y="9"/>
                    <a:pt x="39" y="26"/>
                  </a:cubicBezTo>
                  <a:cubicBezTo>
                    <a:pt x="24" y="34"/>
                    <a:pt x="8" y="46"/>
                    <a:pt x="0" y="61"/>
                  </a:cubicBezTo>
                  <a:cubicBezTo>
                    <a:pt x="0" y="67"/>
                    <a:pt x="0" y="67"/>
                    <a:pt x="0" y="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80" name="Google Shape;331;p3">
              <a:extLst>
                <a:ext uri="{FF2B5EF4-FFF2-40B4-BE49-F238E27FC236}">
                  <a16:creationId xmlns:a16="http://schemas.microsoft.com/office/drawing/2014/main" id="{12AADEE3-9170-DC0C-86E5-823D55D906BA}"/>
                </a:ext>
              </a:extLst>
            </p:cNvPr>
            <p:cNvSpPr/>
            <p:nvPr/>
          </p:nvSpPr>
          <p:spPr>
            <a:xfrm>
              <a:off x="6156325" y="2116138"/>
              <a:ext cx="103188" cy="196850"/>
            </a:xfrm>
            <a:custGeom>
              <a:avLst/>
              <a:gdLst/>
              <a:ahLst/>
              <a:cxnLst/>
              <a:rect l="l" t="t" r="r" b="b"/>
              <a:pathLst>
                <a:path w="61" h="117" extrusionOk="0">
                  <a:moveTo>
                    <a:pt x="56" y="60"/>
                  </a:moveTo>
                  <a:cubicBezTo>
                    <a:pt x="60" y="48"/>
                    <a:pt x="61" y="34"/>
                    <a:pt x="52" y="24"/>
                  </a:cubicBezTo>
                  <a:cubicBezTo>
                    <a:pt x="41" y="13"/>
                    <a:pt x="1" y="0"/>
                    <a:pt x="0" y="27"/>
                  </a:cubicBezTo>
                  <a:cubicBezTo>
                    <a:pt x="0" y="28"/>
                    <a:pt x="1" y="28"/>
                    <a:pt x="1" y="28"/>
                  </a:cubicBezTo>
                  <a:cubicBezTo>
                    <a:pt x="14" y="22"/>
                    <a:pt x="37" y="22"/>
                    <a:pt x="39" y="42"/>
                  </a:cubicBezTo>
                  <a:cubicBezTo>
                    <a:pt x="39" y="52"/>
                    <a:pt x="32" y="64"/>
                    <a:pt x="30" y="75"/>
                  </a:cubicBezTo>
                  <a:cubicBezTo>
                    <a:pt x="26" y="91"/>
                    <a:pt x="35" y="117"/>
                    <a:pt x="55" y="115"/>
                  </a:cubicBezTo>
                  <a:cubicBezTo>
                    <a:pt x="58" y="115"/>
                    <a:pt x="60" y="111"/>
                    <a:pt x="58" y="109"/>
                  </a:cubicBezTo>
                  <a:cubicBezTo>
                    <a:pt x="49" y="98"/>
                    <a:pt x="42" y="92"/>
                    <a:pt x="48" y="78"/>
                  </a:cubicBezTo>
                  <a:cubicBezTo>
                    <a:pt x="51" y="72"/>
                    <a:pt x="54" y="66"/>
                    <a:pt x="56" y="6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81" name="Google Shape;332;p3">
              <a:extLst>
                <a:ext uri="{FF2B5EF4-FFF2-40B4-BE49-F238E27FC236}">
                  <a16:creationId xmlns:a16="http://schemas.microsoft.com/office/drawing/2014/main" id="{EC34C67F-677E-2FD4-39BD-D9B7A6A72E03}"/>
                </a:ext>
              </a:extLst>
            </p:cNvPr>
            <p:cNvSpPr/>
            <p:nvPr/>
          </p:nvSpPr>
          <p:spPr>
            <a:xfrm>
              <a:off x="6538913" y="1544638"/>
              <a:ext cx="741363" cy="531813"/>
            </a:xfrm>
            <a:custGeom>
              <a:avLst/>
              <a:gdLst/>
              <a:ahLst/>
              <a:cxnLst/>
              <a:rect l="l" t="t" r="r" b="b"/>
              <a:pathLst>
                <a:path w="440" h="317" extrusionOk="0">
                  <a:moveTo>
                    <a:pt x="434" y="315"/>
                  </a:moveTo>
                  <a:cubicBezTo>
                    <a:pt x="434" y="316"/>
                    <a:pt x="437" y="317"/>
                    <a:pt x="437" y="315"/>
                  </a:cubicBezTo>
                  <a:cubicBezTo>
                    <a:pt x="440" y="300"/>
                    <a:pt x="437" y="285"/>
                    <a:pt x="436" y="270"/>
                  </a:cubicBezTo>
                  <a:cubicBezTo>
                    <a:pt x="435" y="252"/>
                    <a:pt x="435" y="234"/>
                    <a:pt x="434" y="216"/>
                  </a:cubicBezTo>
                  <a:cubicBezTo>
                    <a:pt x="433" y="179"/>
                    <a:pt x="430" y="142"/>
                    <a:pt x="422" y="106"/>
                  </a:cubicBezTo>
                  <a:cubicBezTo>
                    <a:pt x="412" y="57"/>
                    <a:pt x="391" y="16"/>
                    <a:pt x="341" y="1"/>
                  </a:cubicBezTo>
                  <a:cubicBezTo>
                    <a:pt x="339" y="0"/>
                    <a:pt x="338" y="0"/>
                    <a:pt x="337" y="1"/>
                  </a:cubicBezTo>
                  <a:cubicBezTo>
                    <a:pt x="335" y="1"/>
                    <a:pt x="332" y="1"/>
                    <a:pt x="330" y="2"/>
                  </a:cubicBezTo>
                  <a:cubicBezTo>
                    <a:pt x="305" y="15"/>
                    <a:pt x="282" y="30"/>
                    <a:pt x="254" y="38"/>
                  </a:cubicBezTo>
                  <a:cubicBezTo>
                    <a:pt x="224" y="46"/>
                    <a:pt x="192" y="49"/>
                    <a:pt x="160" y="50"/>
                  </a:cubicBezTo>
                  <a:cubicBezTo>
                    <a:pt x="130" y="51"/>
                    <a:pt x="101" y="46"/>
                    <a:pt x="72" y="40"/>
                  </a:cubicBezTo>
                  <a:cubicBezTo>
                    <a:pt x="48" y="35"/>
                    <a:pt x="24" y="31"/>
                    <a:pt x="1" y="40"/>
                  </a:cubicBezTo>
                  <a:cubicBezTo>
                    <a:pt x="0" y="41"/>
                    <a:pt x="0" y="41"/>
                    <a:pt x="1" y="41"/>
                  </a:cubicBezTo>
                  <a:cubicBezTo>
                    <a:pt x="32" y="42"/>
                    <a:pt x="61" y="53"/>
                    <a:pt x="91" y="60"/>
                  </a:cubicBezTo>
                  <a:cubicBezTo>
                    <a:pt x="119" y="68"/>
                    <a:pt x="149" y="69"/>
                    <a:pt x="178" y="68"/>
                  </a:cubicBezTo>
                  <a:cubicBezTo>
                    <a:pt x="208" y="68"/>
                    <a:pt x="239" y="63"/>
                    <a:pt x="268" y="55"/>
                  </a:cubicBezTo>
                  <a:cubicBezTo>
                    <a:pt x="294" y="49"/>
                    <a:pt x="318" y="34"/>
                    <a:pt x="342" y="22"/>
                  </a:cubicBezTo>
                  <a:cubicBezTo>
                    <a:pt x="343" y="22"/>
                    <a:pt x="344" y="21"/>
                    <a:pt x="345" y="20"/>
                  </a:cubicBezTo>
                  <a:cubicBezTo>
                    <a:pt x="383" y="48"/>
                    <a:pt x="403" y="79"/>
                    <a:pt x="416" y="127"/>
                  </a:cubicBezTo>
                  <a:cubicBezTo>
                    <a:pt x="424" y="159"/>
                    <a:pt x="425" y="193"/>
                    <a:pt x="426" y="226"/>
                  </a:cubicBezTo>
                  <a:cubicBezTo>
                    <a:pt x="427" y="254"/>
                    <a:pt x="424" y="288"/>
                    <a:pt x="434" y="3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82" name="Google Shape;333;p3">
              <a:extLst>
                <a:ext uri="{FF2B5EF4-FFF2-40B4-BE49-F238E27FC236}">
                  <a16:creationId xmlns:a16="http://schemas.microsoft.com/office/drawing/2014/main" id="{CEDBDC39-6FF8-2092-D24F-68CD813E36CA}"/>
                </a:ext>
              </a:extLst>
            </p:cNvPr>
            <p:cNvSpPr/>
            <p:nvPr/>
          </p:nvSpPr>
          <p:spPr>
            <a:xfrm>
              <a:off x="7264400" y="1795463"/>
              <a:ext cx="265113" cy="579438"/>
            </a:xfrm>
            <a:custGeom>
              <a:avLst/>
              <a:gdLst/>
              <a:ahLst/>
              <a:cxnLst/>
              <a:rect l="l" t="t" r="r" b="b"/>
              <a:pathLst>
                <a:path w="157" h="345" extrusionOk="0">
                  <a:moveTo>
                    <a:pt x="42" y="107"/>
                  </a:moveTo>
                  <a:cubicBezTo>
                    <a:pt x="42" y="92"/>
                    <a:pt x="44" y="76"/>
                    <a:pt x="44" y="60"/>
                  </a:cubicBezTo>
                  <a:cubicBezTo>
                    <a:pt x="44" y="59"/>
                    <a:pt x="43" y="59"/>
                    <a:pt x="43" y="60"/>
                  </a:cubicBezTo>
                  <a:cubicBezTo>
                    <a:pt x="40" y="68"/>
                    <a:pt x="37" y="77"/>
                    <a:pt x="35" y="86"/>
                  </a:cubicBezTo>
                  <a:cubicBezTo>
                    <a:pt x="35" y="85"/>
                    <a:pt x="35" y="84"/>
                    <a:pt x="35" y="84"/>
                  </a:cubicBezTo>
                  <a:cubicBezTo>
                    <a:pt x="33" y="56"/>
                    <a:pt x="30" y="28"/>
                    <a:pt x="29" y="0"/>
                  </a:cubicBezTo>
                  <a:cubicBezTo>
                    <a:pt x="29" y="0"/>
                    <a:pt x="28" y="0"/>
                    <a:pt x="28" y="0"/>
                  </a:cubicBezTo>
                  <a:cubicBezTo>
                    <a:pt x="27" y="28"/>
                    <a:pt x="25" y="56"/>
                    <a:pt x="25" y="84"/>
                  </a:cubicBezTo>
                  <a:cubicBezTo>
                    <a:pt x="25" y="102"/>
                    <a:pt x="22" y="123"/>
                    <a:pt x="27" y="141"/>
                  </a:cubicBezTo>
                  <a:cubicBezTo>
                    <a:pt x="28" y="144"/>
                    <a:pt x="28" y="147"/>
                    <a:pt x="30" y="149"/>
                  </a:cubicBezTo>
                  <a:cubicBezTo>
                    <a:pt x="29" y="150"/>
                    <a:pt x="29" y="151"/>
                    <a:pt x="29" y="152"/>
                  </a:cubicBezTo>
                  <a:cubicBezTo>
                    <a:pt x="27" y="157"/>
                    <a:pt x="26" y="166"/>
                    <a:pt x="21" y="168"/>
                  </a:cubicBezTo>
                  <a:cubicBezTo>
                    <a:pt x="16" y="170"/>
                    <a:pt x="10" y="169"/>
                    <a:pt x="6" y="170"/>
                  </a:cubicBezTo>
                  <a:cubicBezTo>
                    <a:pt x="6" y="171"/>
                    <a:pt x="6" y="171"/>
                    <a:pt x="6" y="171"/>
                  </a:cubicBezTo>
                  <a:cubicBezTo>
                    <a:pt x="2" y="172"/>
                    <a:pt x="0" y="178"/>
                    <a:pt x="4" y="180"/>
                  </a:cubicBezTo>
                  <a:cubicBezTo>
                    <a:pt x="5" y="181"/>
                    <a:pt x="6" y="182"/>
                    <a:pt x="7" y="183"/>
                  </a:cubicBezTo>
                  <a:cubicBezTo>
                    <a:pt x="9" y="183"/>
                    <a:pt x="11" y="183"/>
                    <a:pt x="13" y="183"/>
                  </a:cubicBezTo>
                  <a:cubicBezTo>
                    <a:pt x="18" y="183"/>
                    <a:pt x="22" y="183"/>
                    <a:pt x="26" y="182"/>
                  </a:cubicBezTo>
                  <a:cubicBezTo>
                    <a:pt x="36" y="178"/>
                    <a:pt x="42" y="167"/>
                    <a:pt x="41" y="157"/>
                  </a:cubicBezTo>
                  <a:cubicBezTo>
                    <a:pt x="52" y="145"/>
                    <a:pt x="64" y="139"/>
                    <a:pt x="84" y="142"/>
                  </a:cubicBezTo>
                  <a:cubicBezTo>
                    <a:pt x="111" y="146"/>
                    <a:pt x="124" y="168"/>
                    <a:pt x="130" y="192"/>
                  </a:cubicBezTo>
                  <a:cubicBezTo>
                    <a:pt x="144" y="244"/>
                    <a:pt x="120" y="298"/>
                    <a:pt x="96" y="342"/>
                  </a:cubicBezTo>
                  <a:cubicBezTo>
                    <a:pt x="96" y="343"/>
                    <a:pt x="97" y="345"/>
                    <a:pt x="98" y="344"/>
                  </a:cubicBezTo>
                  <a:cubicBezTo>
                    <a:pt x="129" y="336"/>
                    <a:pt x="141" y="288"/>
                    <a:pt x="148" y="260"/>
                  </a:cubicBezTo>
                  <a:cubicBezTo>
                    <a:pt x="157" y="225"/>
                    <a:pt x="156" y="186"/>
                    <a:pt x="137" y="154"/>
                  </a:cubicBezTo>
                  <a:cubicBezTo>
                    <a:pt x="123" y="130"/>
                    <a:pt x="94" y="120"/>
                    <a:pt x="67" y="124"/>
                  </a:cubicBezTo>
                  <a:cubicBezTo>
                    <a:pt x="58" y="125"/>
                    <a:pt x="50" y="128"/>
                    <a:pt x="43" y="133"/>
                  </a:cubicBezTo>
                  <a:cubicBezTo>
                    <a:pt x="42" y="124"/>
                    <a:pt x="41" y="116"/>
                    <a:pt x="42" y="10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83" name="Google Shape;334;p3">
              <a:extLst>
                <a:ext uri="{FF2B5EF4-FFF2-40B4-BE49-F238E27FC236}">
                  <a16:creationId xmlns:a16="http://schemas.microsoft.com/office/drawing/2014/main" id="{4D9F7C14-EE22-7183-B37B-5831006F675D}"/>
                </a:ext>
              </a:extLst>
            </p:cNvPr>
            <p:cNvSpPr/>
            <p:nvPr/>
          </p:nvSpPr>
          <p:spPr>
            <a:xfrm>
              <a:off x="7354888" y="2087563"/>
              <a:ext cx="101600" cy="206375"/>
            </a:xfrm>
            <a:custGeom>
              <a:avLst/>
              <a:gdLst/>
              <a:ahLst/>
              <a:cxnLst/>
              <a:rect l="l" t="t" r="r" b="b"/>
              <a:pathLst>
                <a:path w="60" h="123" extrusionOk="0">
                  <a:moveTo>
                    <a:pt x="60" y="23"/>
                  </a:moveTo>
                  <a:cubicBezTo>
                    <a:pt x="60" y="23"/>
                    <a:pt x="60" y="23"/>
                    <a:pt x="60" y="23"/>
                  </a:cubicBezTo>
                  <a:cubicBezTo>
                    <a:pt x="46" y="0"/>
                    <a:pt x="9" y="4"/>
                    <a:pt x="3" y="32"/>
                  </a:cubicBezTo>
                  <a:cubicBezTo>
                    <a:pt x="0" y="44"/>
                    <a:pt x="6" y="57"/>
                    <a:pt x="11" y="69"/>
                  </a:cubicBezTo>
                  <a:cubicBezTo>
                    <a:pt x="14" y="75"/>
                    <a:pt x="18" y="83"/>
                    <a:pt x="17" y="91"/>
                  </a:cubicBezTo>
                  <a:cubicBezTo>
                    <a:pt x="16" y="99"/>
                    <a:pt x="7" y="105"/>
                    <a:pt x="5" y="113"/>
                  </a:cubicBezTo>
                  <a:cubicBezTo>
                    <a:pt x="3" y="118"/>
                    <a:pt x="9" y="123"/>
                    <a:pt x="14" y="122"/>
                  </a:cubicBezTo>
                  <a:cubicBezTo>
                    <a:pt x="36" y="116"/>
                    <a:pt x="43" y="93"/>
                    <a:pt x="36" y="74"/>
                  </a:cubicBezTo>
                  <a:cubicBezTo>
                    <a:pt x="33" y="64"/>
                    <a:pt x="27" y="56"/>
                    <a:pt x="23" y="47"/>
                  </a:cubicBezTo>
                  <a:cubicBezTo>
                    <a:pt x="20" y="40"/>
                    <a:pt x="18" y="34"/>
                    <a:pt x="21" y="28"/>
                  </a:cubicBezTo>
                  <a:cubicBezTo>
                    <a:pt x="29" y="13"/>
                    <a:pt x="48" y="20"/>
                    <a:pt x="60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84" name="Google Shape;335;p3">
              <a:extLst>
                <a:ext uri="{FF2B5EF4-FFF2-40B4-BE49-F238E27FC236}">
                  <a16:creationId xmlns:a16="http://schemas.microsoft.com/office/drawing/2014/main" id="{C875E227-2A9B-D9EE-BA4F-67E8AFF0E031}"/>
                </a:ext>
              </a:extLst>
            </p:cNvPr>
            <p:cNvSpPr/>
            <p:nvPr/>
          </p:nvSpPr>
          <p:spPr>
            <a:xfrm>
              <a:off x="6232525" y="3432176"/>
              <a:ext cx="38100" cy="233363"/>
            </a:xfrm>
            <a:custGeom>
              <a:avLst/>
              <a:gdLst/>
              <a:ahLst/>
              <a:cxnLst/>
              <a:rect l="l" t="t" r="r" b="b"/>
              <a:pathLst>
                <a:path w="23" h="139" extrusionOk="0"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44"/>
                    <a:pt x="0" y="93"/>
                    <a:pt x="4" y="139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22"/>
                    <a:pt x="21" y="105"/>
                    <a:pt x="20" y="89"/>
                  </a:cubicBezTo>
                  <a:cubicBezTo>
                    <a:pt x="18" y="59"/>
                    <a:pt x="15" y="30"/>
                    <a:pt x="1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85" name="Google Shape;336;p3">
              <a:extLst>
                <a:ext uri="{FF2B5EF4-FFF2-40B4-BE49-F238E27FC236}">
                  <a16:creationId xmlns:a16="http://schemas.microsoft.com/office/drawing/2014/main" id="{0E7D8C74-B639-B0C7-A523-9E526BFC9E51}"/>
                </a:ext>
              </a:extLst>
            </p:cNvPr>
            <p:cNvSpPr/>
            <p:nvPr/>
          </p:nvSpPr>
          <p:spPr>
            <a:xfrm>
              <a:off x="6072188" y="1327151"/>
              <a:ext cx="1498600" cy="2014538"/>
            </a:xfrm>
            <a:custGeom>
              <a:avLst/>
              <a:gdLst/>
              <a:ahLst/>
              <a:cxnLst/>
              <a:rect l="l" t="t" r="r" b="b"/>
              <a:pathLst>
                <a:path w="890" h="1198" extrusionOk="0">
                  <a:moveTo>
                    <a:pt x="773" y="1041"/>
                  </a:moveTo>
                  <a:cubicBezTo>
                    <a:pt x="750" y="1032"/>
                    <a:pt x="727" y="1022"/>
                    <a:pt x="705" y="1013"/>
                  </a:cubicBezTo>
                  <a:cubicBezTo>
                    <a:pt x="691" y="1007"/>
                    <a:pt x="674" y="1000"/>
                    <a:pt x="658" y="1002"/>
                  </a:cubicBezTo>
                  <a:cubicBezTo>
                    <a:pt x="658" y="1002"/>
                    <a:pt x="658" y="1001"/>
                    <a:pt x="658" y="1001"/>
                  </a:cubicBezTo>
                  <a:cubicBezTo>
                    <a:pt x="658" y="1001"/>
                    <a:pt x="658" y="1000"/>
                    <a:pt x="659" y="1000"/>
                  </a:cubicBezTo>
                  <a:cubicBezTo>
                    <a:pt x="662" y="976"/>
                    <a:pt x="639" y="957"/>
                    <a:pt x="620" y="947"/>
                  </a:cubicBezTo>
                  <a:cubicBezTo>
                    <a:pt x="612" y="943"/>
                    <a:pt x="604" y="941"/>
                    <a:pt x="596" y="941"/>
                  </a:cubicBezTo>
                  <a:cubicBezTo>
                    <a:pt x="595" y="935"/>
                    <a:pt x="593" y="930"/>
                    <a:pt x="590" y="925"/>
                  </a:cubicBezTo>
                  <a:cubicBezTo>
                    <a:pt x="631" y="906"/>
                    <a:pt x="668" y="877"/>
                    <a:pt x="697" y="840"/>
                  </a:cubicBezTo>
                  <a:cubicBezTo>
                    <a:pt x="732" y="794"/>
                    <a:pt x="746" y="737"/>
                    <a:pt x="750" y="680"/>
                  </a:cubicBezTo>
                  <a:cubicBezTo>
                    <a:pt x="751" y="665"/>
                    <a:pt x="751" y="651"/>
                    <a:pt x="751" y="636"/>
                  </a:cubicBezTo>
                  <a:cubicBezTo>
                    <a:pt x="755" y="638"/>
                    <a:pt x="760" y="640"/>
                    <a:pt x="764" y="640"/>
                  </a:cubicBezTo>
                  <a:cubicBezTo>
                    <a:pt x="774" y="641"/>
                    <a:pt x="791" y="636"/>
                    <a:pt x="799" y="631"/>
                  </a:cubicBezTo>
                  <a:cubicBezTo>
                    <a:pt x="800" y="630"/>
                    <a:pt x="800" y="630"/>
                    <a:pt x="800" y="629"/>
                  </a:cubicBezTo>
                  <a:cubicBezTo>
                    <a:pt x="800" y="629"/>
                    <a:pt x="800" y="628"/>
                    <a:pt x="800" y="628"/>
                  </a:cubicBezTo>
                  <a:cubicBezTo>
                    <a:pt x="800" y="628"/>
                    <a:pt x="800" y="628"/>
                    <a:pt x="800" y="628"/>
                  </a:cubicBezTo>
                  <a:cubicBezTo>
                    <a:pt x="800" y="627"/>
                    <a:pt x="799" y="627"/>
                    <a:pt x="798" y="627"/>
                  </a:cubicBezTo>
                  <a:cubicBezTo>
                    <a:pt x="790" y="626"/>
                    <a:pt x="781" y="629"/>
                    <a:pt x="772" y="628"/>
                  </a:cubicBezTo>
                  <a:cubicBezTo>
                    <a:pt x="768" y="628"/>
                    <a:pt x="763" y="627"/>
                    <a:pt x="760" y="625"/>
                  </a:cubicBezTo>
                  <a:cubicBezTo>
                    <a:pt x="755" y="622"/>
                    <a:pt x="755" y="617"/>
                    <a:pt x="750" y="614"/>
                  </a:cubicBezTo>
                  <a:cubicBezTo>
                    <a:pt x="750" y="614"/>
                    <a:pt x="750" y="614"/>
                    <a:pt x="749" y="614"/>
                  </a:cubicBezTo>
                  <a:cubicBezTo>
                    <a:pt x="749" y="604"/>
                    <a:pt x="748" y="594"/>
                    <a:pt x="747" y="584"/>
                  </a:cubicBezTo>
                  <a:cubicBezTo>
                    <a:pt x="744" y="555"/>
                    <a:pt x="740" y="524"/>
                    <a:pt x="728" y="497"/>
                  </a:cubicBezTo>
                  <a:cubicBezTo>
                    <a:pt x="728" y="496"/>
                    <a:pt x="726" y="497"/>
                    <a:pt x="726" y="498"/>
                  </a:cubicBezTo>
                  <a:cubicBezTo>
                    <a:pt x="725" y="524"/>
                    <a:pt x="731" y="549"/>
                    <a:pt x="734" y="575"/>
                  </a:cubicBezTo>
                  <a:cubicBezTo>
                    <a:pt x="738" y="604"/>
                    <a:pt x="739" y="633"/>
                    <a:pt x="737" y="663"/>
                  </a:cubicBezTo>
                  <a:cubicBezTo>
                    <a:pt x="734" y="718"/>
                    <a:pt x="717" y="772"/>
                    <a:pt x="687" y="818"/>
                  </a:cubicBezTo>
                  <a:cubicBezTo>
                    <a:pt x="628" y="908"/>
                    <a:pt x="521" y="939"/>
                    <a:pt x="420" y="937"/>
                  </a:cubicBezTo>
                  <a:cubicBezTo>
                    <a:pt x="312" y="935"/>
                    <a:pt x="211" y="890"/>
                    <a:pt x="161" y="791"/>
                  </a:cubicBezTo>
                  <a:cubicBezTo>
                    <a:pt x="115" y="699"/>
                    <a:pt x="133" y="587"/>
                    <a:pt x="142" y="486"/>
                  </a:cubicBezTo>
                  <a:cubicBezTo>
                    <a:pt x="143" y="486"/>
                    <a:pt x="144" y="486"/>
                    <a:pt x="144" y="485"/>
                  </a:cubicBezTo>
                  <a:cubicBezTo>
                    <a:pt x="150" y="485"/>
                    <a:pt x="156" y="485"/>
                    <a:pt x="162" y="485"/>
                  </a:cubicBezTo>
                  <a:cubicBezTo>
                    <a:pt x="170" y="485"/>
                    <a:pt x="173" y="478"/>
                    <a:pt x="171" y="472"/>
                  </a:cubicBezTo>
                  <a:cubicBezTo>
                    <a:pt x="174" y="450"/>
                    <a:pt x="172" y="428"/>
                    <a:pt x="172" y="406"/>
                  </a:cubicBezTo>
                  <a:cubicBezTo>
                    <a:pt x="171" y="377"/>
                    <a:pt x="171" y="349"/>
                    <a:pt x="174" y="320"/>
                  </a:cubicBezTo>
                  <a:cubicBezTo>
                    <a:pt x="177" y="289"/>
                    <a:pt x="185" y="259"/>
                    <a:pt x="198" y="231"/>
                  </a:cubicBezTo>
                  <a:cubicBezTo>
                    <a:pt x="210" y="206"/>
                    <a:pt x="230" y="196"/>
                    <a:pt x="251" y="180"/>
                  </a:cubicBezTo>
                  <a:cubicBezTo>
                    <a:pt x="254" y="179"/>
                    <a:pt x="253" y="173"/>
                    <a:pt x="249" y="174"/>
                  </a:cubicBezTo>
                  <a:cubicBezTo>
                    <a:pt x="199" y="178"/>
                    <a:pt x="179" y="245"/>
                    <a:pt x="169" y="285"/>
                  </a:cubicBezTo>
                  <a:cubicBezTo>
                    <a:pt x="162" y="316"/>
                    <a:pt x="160" y="348"/>
                    <a:pt x="159" y="380"/>
                  </a:cubicBezTo>
                  <a:cubicBezTo>
                    <a:pt x="158" y="408"/>
                    <a:pt x="157" y="437"/>
                    <a:pt x="161" y="465"/>
                  </a:cubicBezTo>
                  <a:cubicBezTo>
                    <a:pt x="157" y="465"/>
                    <a:pt x="154" y="465"/>
                    <a:pt x="150" y="466"/>
                  </a:cubicBezTo>
                  <a:cubicBezTo>
                    <a:pt x="150" y="457"/>
                    <a:pt x="148" y="448"/>
                    <a:pt x="146" y="439"/>
                  </a:cubicBezTo>
                  <a:cubicBezTo>
                    <a:pt x="139" y="409"/>
                    <a:pt x="138" y="379"/>
                    <a:pt x="137" y="349"/>
                  </a:cubicBezTo>
                  <a:cubicBezTo>
                    <a:pt x="137" y="349"/>
                    <a:pt x="136" y="349"/>
                    <a:pt x="136" y="349"/>
                  </a:cubicBezTo>
                  <a:cubicBezTo>
                    <a:pt x="135" y="374"/>
                    <a:pt x="135" y="399"/>
                    <a:pt x="134" y="424"/>
                  </a:cubicBezTo>
                  <a:cubicBezTo>
                    <a:pt x="134" y="425"/>
                    <a:pt x="134" y="426"/>
                    <a:pt x="134" y="427"/>
                  </a:cubicBezTo>
                  <a:cubicBezTo>
                    <a:pt x="128" y="397"/>
                    <a:pt x="126" y="366"/>
                    <a:pt x="126" y="335"/>
                  </a:cubicBezTo>
                  <a:cubicBezTo>
                    <a:pt x="126" y="298"/>
                    <a:pt x="126" y="260"/>
                    <a:pt x="135" y="223"/>
                  </a:cubicBezTo>
                  <a:cubicBezTo>
                    <a:pt x="152" y="151"/>
                    <a:pt x="210" y="100"/>
                    <a:pt x="275" y="69"/>
                  </a:cubicBezTo>
                  <a:cubicBezTo>
                    <a:pt x="309" y="53"/>
                    <a:pt x="346" y="46"/>
                    <a:pt x="382" y="39"/>
                  </a:cubicBezTo>
                  <a:cubicBezTo>
                    <a:pt x="424" y="31"/>
                    <a:pt x="467" y="27"/>
                    <a:pt x="509" y="34"/>
                  </a:cubicBezTo>
                  <a:cubicBezTo>
                    <a:pt x="533" y="39"/>
                    <a:pt x="557" y="49"/>
                    <a:pt x="579" y="59"/>
                  </a:cubicBezTo>
                  <a:cubicBezTo>
                    <a:pt x="598" y="68"/>
                    <a:pt x="629" y="83"/>
                    <a:pt x="631" y="107"/>
                  </a:cubicBezTo>
                  <a:cubicBezTo>
                    <a:pt x="592" y="51"/>
                    <a:pt x="508" y="46"/>
                    <a:pt x="446" y="48"/>
                  </a:cubicBezTo>
                  <a:cubicBezTo>
                    <a:pt x="446" y="48"/>
                    <a:pt x="446" y="48"/>
                    <a:pt x="446" y="48"/>
                  </a:cubicBezTo>
                  <a:cubicBezTo>
                    <a:pt x="479" y="52"/>
                    <a:pt x="511" y="56"/>
                    <a:pt x="543" y="66"/>
                  </a:cubicBezTo>
                  <a:cubicBezTo>
                    <a:pt x="579" y="77"/>
                    <a:pt x="602" y="95"/>
                    <a:pt x="627" y="123"/>
                  </a:cubicBezTo>
                  <a:cubicBezTo>
                    <a:pt x="631" y="128"/>
                    <a:pt x="639" y="122"/>
                    <a:pt x="637" y="117"/>
                  </a:cubicBezTo>
                  <a:cubicBezTo>
                    <a:pt x="638" y="117"/>
                    <a:pt x="638" y="117"/>
                    <a:pt x="639" y="117"/>
                  </a:cubicBezTo>
                  <a:cubicBezTo>
                    <a:pt x="640" y="118"/>
                    <a:pt x="642" y="118"/>
                    <a:pt x="643" y="118"/>
                  </a:cubicBezTo>
                  <a:cubicBezTo>
                    <a:pt x="663" y="119"/>
                    <a:pt x="679" y="124"/>
                    <a:pt x="693" y="139"/>
                  </a:cubicBezTo>
                  <a:cubicBezTo>
                    <a:pt x="705" y="152"/>
                    <a:pt x="713" y="168"/>
                    <a:pt x="722" y="182"/>
                  </a:cubicBezTo>
                  <a:cubicBezTo>
                    <a:pt x="723" y="183"/>
                    <a:pt x="723" y="182"/>
                    <a:pt x="723" y="182"/>
                  </a:cubicBezTo>
                  <a:cubicBezTo>
                    <a:pt x="718" y="158"/>
                    <a:pt x="704" y="132"/>
                    <a:pt x="684" y="117"/>
                  </a:cubicBezTo>
                  <a:cubicBezTo>
                    <a:pt x="708" y="126"/>
                    <a:pt x="724" y="148"/>
                    <a:pt x="736" y="177"/>
                  </a:cubicBezTo>
                  <a:cubicBezTo>
                    <a:pt x="744" y="196"/>
                    <a:pt x="749" y="216"/>
                    <a:pt x="751" y="237"/>
                  </a:cubicBezTo>
                  <a:cubicBezTo>
                    <a:pt x="755" y="264"/>
                    <a:pt x="750" y="291"/>
                    <a:pt x="752" y="319"/>
                  </a:cubicBezTo>
                  <a:cubicBezTo>
                    <a:pt x="752" y="320"/>
                    <a:pt x="754" y="320"/>
                    <a:pt x="754" y="319"/>
                  </a:cubicBezTo>
                  <a:cubicBezTo>
                    <a:pt x="760" y="265"/>
                    <a:pt x="764" y="203"/>
                    <a:pt x="742" y="152"/>
                  </a:cubicBezTo>
                  <a:cubicBezTo>
                    <a:pt x="724" y="112"/>
                    <a:pt x="690" y="86"/>
                    <a:pt x="649" y="97"/>
                  </a:cubicBezTo>
                  <a:cubicBezTo>
                    <a:pt x="641" y="58"/>
                    <a:pt x="572" y="36"/>
                    <a:pt x="541" y="26"/>
                  </a:cubicBezTo>
                  <a:cubicBezTo>
                    <a:pt x="463" y="0"/>
                    <a:pt x="366" y="17"/>
                    <a:pt x="291" y="45"/>
                  </a:cubicBezTo>
                  <a:cubicBezTo>
                    <a:pt x="220" y="72"/>
                    <a:pt x="159" y="122"/>
                    <a:pt x="130" y="192"/>
                  </a:cubicBezTo>
                  <a:cubicBezTo>
                    <a:pt x="114" y="229"/>
                    <a:pt x="113" y="268"/>
                    <a:pt x="112" y="307"/>
                  </a:cubicBezTo>
                  <a:cubicBezTo>
                    <a:pt x="111" y="347"/>
                    <a:pt x="112" y="387"/>
                    <a:pt x="118" y="426"/>
                  </a:cubicBezTo>
                  <a:cubicBezTo>
                    <a:pt x="106" y="419"/>
                    <a:pt x="89" y="416"/>
                    <a:pt x="77" y="417"/>
                  </a:cubicBezTo>
                  <a:cubicBezTo>
                    <a:pt x="57" y="418"/>
                    <a:pt x="42" y="429"/>
                    <a:pt x="30" y="445"/>
                  </a:cubicBezTo>
                  <a:cubicBezTo>
                    <a:pt x="6" y="477"/>
                    <a:pt x="0" y="532"/>
                    <a:pt x="20" y="566"/>
                  </a:cubicBezTo>
                  <a:cubicBezTo>
                    <a:pt x="20" y="566"/>
                    <a:pt x="21" y="566"/>
                    <a:pt x="21" y="565"/>
                  </a:cubicBezTo>
                  <a:cubicBezTo>
                    <a:pt x="18" y="534"/>
                    <a:pt x="22" y="498"/>
                    <a:pt x="35" y="469"/>
                  </a:cubicBezTo>
                  <a:cubicBezTo>
                    <a:pt x="42" y="453"/>
                    <a:pt x="53" y="439"/>
                    <a:pt x="70" y="434"/>
                  </a:cubicBezTo>
                  <a:cubicBezTo>
                    <a:pt x="93" y="428"/>
                    <a:pt x="105" y="454"/>
                    <a:pt x="125" y="457"/>
                  </a:cubicBezTo>
                  <a:cubicBezTo>
                    <a:pt x="127" y="460"/>
                    <a:pt x="130" y="462"/>
                    <a:pt x="133" y="461"/>
                  </a:cubicBezTo>
                  <a:cubicBezTo>
                    <a:pt x="133" y="464"/>
                    <a:pt x="133" y="468"/>
                    <a:pt x="132" y="471"/>
                  </a:cubicBezTo>
                  <a:cubicBezTo>
                    <a:pt x="131" y="472"/>
                    <a:pt x="131" y="473"/>
                    <a:pt x="130" y="475"/>
                  </a:cubicBezTo>
                  <a:cubicBezTo>
                    <a:pt x="128" y="479"/>
                    <a:pt x="131" y="483"/>
                    <a:pt x="136" y="485"/>
                  </a:cubicBezTo>
                  <a:cubicBezTo>
                    <a:pt x="128" y="536"/>
                    <a:pt x="120" y="589"/>
                    <a:pt x="119" y="641"/>
                  </a:cubicBezTo>
                  <a:cubicBezTo>
                    <a:pt x="115" y="642"/>
                    <a:pt x="112" y="643"/>
                    <a:pt x="106" y="645"/>
                  </a:cubicBezTo>
                  <a:cubicBezTo>
                    <a:pt x="93" y="650"/>
                    <a:pt x="78" y="646"/>
                    <a:pt x="66" y="641"/>
                  </a:cubicBezTo>
                  <a:cubicBezTo>
                    <a:pt x="38" y="629"/>
                    <a:pt x="33" y="604"/>
                    <a:pt x="21" y="580"/>
                  </a:cubicBezTo>
                  <a:cubicBezTo>
                    <a:pt x="21" y="580"/>
                    <a:pt x="20" y="580"/>
                    <a:pt x="20" y="580"/>
                  </a:cubicBezTo>
                  <a:cubicBezTo>
                    <a:pt x="27" y="612"/>
                    <a:pt x="30" y="642"/>
                    <a:pt x="62" y="658"/>
                  </a:cubicBezTo>
                  <a:cubicBezTo>
                    <a:pt x="74" y="664"/>
                    <a:pt x="103" y="671"/>
                    <a:pt x="118" y="663"/>
                  </a:cubicBezTo>
                  <a:cubicBezTo>
                    <a:pt x="119" y="714"/>
                    <a:pt x="127" y="765"/>
                    <a:pt x="151" y="813"/>
                  </a:cubicBezTo>
                  <a:cubicBezTo>
                    <a:pt x="185" y="880"/>
                    <a:pt x="248" y="920"/>
                    <a:pt x="317" y="941"/>
                  </a:cubicBezTo>
                  <a:cubicBezTo>
                    <a:pt x="317" y="944"/>
                    <a:pt x="316" y="947"/>
                    <a:pt x="316" y="949"/>
                  </a:cubicBezTo>
                  <a:cubicBezTo>
                    <a:pt x="314" y="949"/>
                    <a:pt x="313" y="950"/>
                    <a:pt x="311" y="950"/>
                  </a:cubicBezTo>
                  <a:cubicBezTo>
                    <a:pt x="303" y="952"/>
                    <a:pt x="296" y="961"/>
                    <a:pt x="291" y="967"/>
                  </a:cubicBezTo>
                  <a:cubicBezTo>
                    <a:pt x="284" y="975"/>
                    <a:pt x="278" y="984"/>
                    <a:pt x="273" y="993"/>
                  </a:cubicBezTo>
                  <a:cubicBezTo>
                    <a:pt x="269" y="999"/>
                    <a:pt x="266" y="1005"/>
                    <a:pt x="265" y="1011"/>
                  </a:cubicBezTo>
                  <a:cubicBezTo>
                    <a:pt x="264" y="1012"/>
                    <a:pt x="264" y="1013"/>
                    <a:pt x="264" y="1014"/>
                  </a:cubicBezTo>
                  <a:cubicBezTo>
                    <a:pt x="264" y="1017"/>
                    <a:pt x="264" y="1019"/>
                    <a:pt x="264" y="1021"/>
                  </a:cubicBezTo>
                  <a:cubicBezTo>
                    <a:pt x="264" y="1021"/>
                    <a:pt x="264" y="1021"/>
                    <a:pt x="264" y="1021"/>
                  </a:cubicBezTo>
                  <a:cubicBezTo>
                    <a:pt x="222" y="1040"/>
                    <a:pt x="178" y="1053"/>
                    <a:pt x="135" y="1071"/>
                  </a:cubicBezTo>
                  <a:cubicBezTo>
                    <a:pt x="99" y="1085"/>
                    <a:pt x="64" y="1104"/>
                    <a:pt x="44" y="1138"/>
                  </a:cubicBezTo>
                  <a:cubicBezTo>
                    <a:pt x="44" y="1138"/>
                    <a:pt x="45" y="1139"/>
                    <a:pt x="45" y="1139"/>
                  </a:cubicBezTo>
                  <a:cubicBezTo>
                    <a:pt x="110" y="1087"/>
                    <a:pt x="193" y="1070"/>
                    <a:pt x="267" y="1038"/>
                  </a:cubicBezTo>
                  <a:cubicBezTo>
                    <a:pt x="271" y="1054"/>
                    <a:pt x="277" y="1070"/>
                    <a:pt x="283" y="1084"/>
                  </a:cubicBezTo>
                  <a:cubicBezTo>
                    <a:pt x="299" y="1121"/>
                    <a:pt x="316" y="1165"/>
                    <a:pt x="346" y="1193"/>
                  </a:cubicBezTo>
                  <a:cubicBezTo>
                    <a:pt x="347" y="1194"/>
                    <a:pt x="349" y="1193"/>
                    <a:pt x="348" y="1192"/>
                  </a:cubicBezTo>
                  <a:cubicBezTo>
                    <a:pt x="342" y="1177"/>
                    <a:pt x="332" y="1164"/>
                    <a:pt x="326" y="1149"/>
                  </a:cubicBezTo>
                  <a:cubicBezTo>
                    <a:pt x="315" y="1126"/>
                    <a:pt x="306" y="1102"/>
                    <a:pt x="298" y="1077"/>
                  </a:cubicBezTo>
                  <a:cubicBezTo>
                    <a:pt x="291" y="1056"/>
                    <a:pt x="286" y="1031"/>
                    <a:pt x="277" y="1011"/>
                  </a:cubicBezTo>
                  <a:cubicBezTo>
                    <a:pt x="277" y="1010"/>
                    <a:pt x="276" y="1010"/>
                    <a:pt x="276" y="1010"/>
                  </a:cubicBezTo>
                  <a:cubicBezTo>
                    <a:pt x="282" y="1002"/>
                    <a:pt x="287" y="993"/>
                    <a:pt x="293" y="986"/>
                  </a:cubicBezTo>
                  <a:cubicBezTo>
                    <a:pt x="298" y="980"/>
                    <a:pt x="304" y="974"/>
                    <a:pt x="310" y="969"/>
                  </a:cubicBezTo>
                  <a:cubicBezTo>
                    <a:pt x="314" y="965"/>
                    <a:pt x="315" y="966"/>
                    <a:pt x="319" y="966"/>
                  </a:cubicBezTo>
                  <a:cubicBezTo>
                    <a:pt x="323" y="980"/>
                    <a:pt x="332" y="993"/>
                    <a:pt x="341" y="1003"/>
                  </a:cubicBezTo>
                  <a:cubicBezTo>
                    <a:pt x="355" y="1019"/>
                    <a:pt x="392" y="1053"/>
                    <a:pt x="416" y="1039"/>
                  </a:cubicBezTo>
                  <a:cubicBezTo>
                    <a:pt x="416" y="1039"/>
                    <a:pt x="417" y="1037"/>
                    <a:pt x="416" y="1037"/>
                  </a:cubicBezTo>
                  <a:cubicBezTo>
                    <a:pt x="411" y="1029"/>
                    <a:pt x="403" y="1027"/>
                    <a:pt x="395" y="1023"/>
                  </a:cubicBezTo>
                  <a:cubicBezTo>
                    <a:pt x="382" y="1018"/>
                    <a:pt x="371" y="1009"/>
                    <a:pt x="361" y="1000"/>
                  </a:cubicBezTo>
                  <a:cubicBezTo>
                    <a:pt x="352" y="991"/>
                    <a:pt x="343" y="980"/>
                    <a:pt x="336" y="969"/>
                  </a:cubicBezTo>
                  <a:cubicBezTo>
                    <a:pt x="332" y="961"/>
                    <a:pt x="331" y="953"/>
                    <a:pt x="330" y="945"/>
                  </a:cubicBezTo>
                  <a:cubicBezTo>
                    <a:pt x="359" y="952"/>
                    <a:pt x="390" y="957"/>
                    <a:pt x="420" y="958"/>
                  </a:cubicBezTo>
                  <a:cubicBezTo>
                    <a:pt x="474" y="960"/>
                    <a:pt x="527" y="952"/>
                    <a:pt x="576" y="932"/>
                  </a:cubicBezTo>
                  <a:cubicBezTo>
                    <a:pt x="576" y="937"/>
                    <a:pt x="577" y="942"/>
                    <a:pt x="578" y="947"/>
                  </a:cubicBezTo>
                  <a:cubicBezTo>
                    <a:pt x="578" y="953"/>
                    <a:pt x="577" y="960"/>
                    <a:pt x="578" y="966"/>
                  </a:cubicBezTo>
                  <a:cubicBezTo>
                    <a:pt x="574" y="982"/>
                    <a:pt x="565" y="996"/>
                    <a:pt x="554" y="1010"/>
                  </a:cubicBezTo>
                  <a:cubicBezTo>
                    <a:pt x="544" y="1022"/>
                    <a:pt x="531" y="1031"/>
                    <a:pt x="522" y="1045"/>
                  </a:cubicBezTo>
                  <a:cubicBezTo>
                    <a:pt x="522" y="1045"/>
                    <a:pt x="523" y="1046"/>
                    <a:pt x="523" y="1046"/>
                  </a:cubicBezTo>
                  <a:cubicBezTo>
                    <a:pt x="559" y="1039"/>
                    <a:pt x="590" y="994"/>
                    <a:pt x="597" y="960"/>
                  </a:cubicBezTo>
                  <a:cubicBezTo>
                    <a:pt x="597" y="960"/>
                    <a:pt x="597" y="959"/>
                    <a:pt x="598" y="959"/>
                  </a:cubicBezTo>
                  <a:cubicBezTo>
                    <a:pt x="605" y="962"/>
                    <a:pt x="612" y="964"/>
                    <a:pt x="620" y="968"/>
                  </a:cubicBezTo>
                  <a:cubicBezTo>
                    <a:pt x="632" y="975"/>
                    <a:pt x="637" y="989"/>
                    <a:pt x="646" y="999"/>
                  </a:cubicBezTo>
                  <a:cubicBezTo>
                    <a:pt x="645" y="1007"/>
                    <a:pt x="645" y="1016"/>
                    <a:pt x="645" y="1026"/>
                  </a:cubicBezTo>
                  <a:cubicBezTo>
                    <a:pt x="646" y="1044"/>
                    <a:pt x="644" y="1062"/>
                    <a:pt x="643" y="1080"/>
                  </a:cubicBezTo>
                  <a:cubicBezTo>
                    <a:pt x="640" y="1120"/>
                    <a:pt x="629" y="1156"/>
                    <a:pt x="619" y="1195"/>
                  </a:cubicBezTo>
                  <a:cubicBezTo>
                    <a:pt x="618" y="1197"/>
                    <a:pt x="621" y="1198"/>
                    <a:pt x="622" y="1197"/>
                  </a:cubicBezTo>
                  <a:cubicBezTo>
                    <a:pt x="643" y="1172"/>
                    <a:pt x="649" y="1131"/>
                    <a:pt x="655" y="1100"/>
                  </a:cubicBezTo>
                  <a:cubicBezTo>
                    <a:pt x="659" y="1078"/>
                    <a:pt x="665" y="1045"/>
                    <a:pt x="662" y="1018"/>
                  </a:cubicBezTo>
                  <a:cubicBezTo>
                    <a:pt x="672" y="1022"/>
                    <a:pt x="683" y="1024"/>
                    <a:pt x="692" y="1028"/>
                  </a:cubicBezTo>
                  <a:cubicBezTo>
                    <a:pt x="712" y="1035"/>
                    <a:pt x="732" y="1044"/>
                    <a:pt x="751" y="1051"/>
                  </a:cubicBezTo>
                  <a:cubicBezTo>
                    <a:pt x="772" y="1059"/>
                    <a:pt x="792" y="1065"/>
                    <a:pt x="812" y="1073"/>
                  </a:cubicBezTo>
                  <a:cubicBezTo>
                    <a:pt x="837" y="1082"/>
                    <a:pt x="860" y="1095"/>
                    <a:pt x="884" y="1106"/>
                  </a:cubicBezTo>
                  <a:cubicBezTo>
                    <a:pt x="886" y="1108"/>
                    <a:pt x="890" y="1105"/>
                    <a:pt x="888" y="1102"/>
                  </a:cubicBezTo>
                  <a:cubicBezTo>
                    <a:pt x="862" y="1068"/>
                    <a:pt x="812" y="1055"/>
                    <a:pt x="773" y="104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86" name="Google Shape;337;p3">
              <a:extLst>
                <a:ext uri="{FF2B5EF4-FFF2-40B4-BE49-F238E27FC236}">
                  <a16:creationId xmlns:a16="http://schemas.microsoft.com/office/drawing/2014/main" id="{34BD4DFC-5EB2-057F-DC38-83998EAB712D}"/>
                </a:ext>
              </a:extLst>
            </p:cNvPr>
            <p:cNvSpPr/>
            <p:nvPr/>
          </p:nvSpPr>
          <p:spPr>
            <a:xfrm>
              <a:off x="7573963" y="3206751"/>
              <a:ext cx="158750" cy="458788"/>
            </a:xfrm>
            <a:custGeom>
              <a:avLst/>
              <a:gdLst/>
              <a:ahLst/>
              <a:cxnLst/>
              <a:rect l="l" t="t" r="r" b="b"/>
              <a:pathLst>
                <a:path w="94" h="273" extrusionOk="0">
                  <a:moveTo>
                    <a:pt x="85" y="235"/>
                  </a:moveTo>
                  <a:cubicBezTo>
                    <a:pt x="78" y="206"/>
                    <a:pt x="70" y="177"/>
                    <a:pt x="63" y="149"/>
                  </a:cubicBezTo>
                  <a:cubicBezTo>
                    <a:pt x="55" y="120"/>
                    <a:pt x="45" y="92"/>
                    <a:pt x="34" y="64"/>
                  </a:cubicBezTo>
                  <a:cubicBezTo>
                    <a:pt x="26" y="42"/>
                    <a:pt x="18" y="17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2" y="26"/>
                    <a:pt x="16" y="52"/>
                    <a:pt x="23" y="76"/>
                  </a:cubicBezTo>
                  <a:cubicBezTo>
                    <a:pt x="32" y="105"/>
                    <a:pt x="40" y="133"/>
                    <a:pt x="47" y="162"/>
                  </a:cubicBezTo>
                  <a:cubicBezTo>
                    <a:pt x="55" y="191"/>
                    <a:pt x="61" y="220"/>
                    <a:pt x="68" y="248"/>
                  </a:cubicBezTo>
                  <a:cubicBezTo>
                    <a:pt x="70" y="256"/>
                    <a:pt x="70" y="264"/>
                    <a:pt x="71" y="273"/>
                  </a:cubicBezTo>
                  <a:cubicBezTo>
                    <a:pt x="94" y="273"/>
                    <a:pt x="94" y="273"/>
                    <a:pt x="94" y="273"/>
                  </a:cubicBezTo>
                  <a:cubicBezTo>
                    <a:pt x="91" y="259"/>
                    <a:pt x="88" y="246"/>
                    <a:pt x="85" y="23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87" name="Google Shape;338;p3">
              <a:extLst>
                <a:ext uri="{FF2B5EF4-FFF2-40B4-BE49-F238E27FC236}">
                  <a16:creationId xmlns:a16="http://schemas.microsoft.com/office/drawing/2014/main" id="{A82B2BFE-3BA1-C951-F85F-F2D08388D639}"/>
                </a:ext>
              </a:extLst>
            </p:cNvPr>
            <p:cNvSpPr/>
            <p:nvPr/>
          </p:nvSpPr>
          <p:spPr>
            <a:xfrm>
              <a:off x="7470775" y="3398838"/>
              <a:ext cx="58738" cy="266700"/>
            </a:xfrm>
            <a:custGeom>
              <a:avLst/>
              <a:gdLst/>
              <a:ahLst/>
              <a:cxnLst/>
              <a:rect l="l" t="t" r="r" b="b"/>
              <a:pathLst>
                <a:path w="34" h="159" extrusionOk="0">
                  <a:moveTo>
                    <a:pt x="16" y="46"/>
                  </a:moveTo>
                  <a:cubicBezTo>
                    <a:pt x="16" y="30"/>
                    <a:pt x="21" y="16"/>
                    <a:pt x="16" y="1"/>
                  </a:cubicBezTo>
                  <a:cubicBezTo>
                    <a:pt x="16" y="0"/>
                    <a:pt x="15" y="0"/>
                    <a:pt x="14" y="1"/>
                  </a:cubicBezTo>
                  <a:cubicBezTo>
                    <a:pt x="1" y="29"/>
                    <a:pt x="0" y="59"/>
                    <a:pt x="3" y="90"/>
                  </a:cubicBezTo>
                  <a:cubicBezTo>
                    <a:pt x="5" y="105"/>
                    <a:pt x="8" y="121"/>
                    <a:pt x="11" y="136"/>
                  </a:cubicBezTo>
                  <a:cubicBezTo>
                    <a:pt x="12" y="144"/>
                    <a:pt x="13" y="151"/>
                    <a:pt x="15" y="159"/>
                  </a:cubicBezTo>
                  <a:cubicBezTo>
                    <a:pt x="34" y="159"/>
                    <a:pt x="34" y="159"/>
                    <a:pt x="34" y="159"/>
                  </a:cubicBezTo>
                  <a:cubicBezTo>
                    <a:pt x="33" y="138"/>
                    <a:pt x="25" y="115"/>
                    <a:pt x="21" y="96"/>
                  </a:cubicBezTo>
                  <a:cubicBezTo>
                    <a:pt x="18" y="80"/>
                    <a:pt x="17" y="63"/>
                    <a:pt x="16" y="4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88" name="Google Shape;339;p3">
              <a:extLst>
                <a:ext uri="{FF2B5EF4-FFF2-40B4-BE49-F238E27FC236}">
                  <a16:creationId xmlns:a16="http://schemas.microsoft.com/office/drawing/2014/main" id="{EAFB9B8D-4196-55C0-8820-8EEA54800F0F}"/>
                </a:ext>
              </a:extLst>
            </p:cNvPr>
            <p:cNvSpPr/>
            <p:nvPr/>
          </p:nvSpPr>
          <p:spPr>
            <a:xfrm>
              <a:off x="6683375" y="3065463"/>
              <a:ext cx="428625" cy="600075"/>
            </a:xfrm>
            <a:custGeom>
              <a:avLst/>
              <a:gdLst/>
              <a:ahLst/>
              <a:cxnLst/>
              <a:rect l="l" t="t" r="r" b="b"/>
              <a:pathLst>
                <a:path w="255" h="357" extrusionOk="0">
                  <a:moveTo>
                    <a:pt x="228" y="268"/>
                  </a:moveTo>
                  <a:cubicBezTo>
                    <a:pt x="216" y="238"/>
                    <a:pt x="201" y="199"/>
                    <a:pt x="172" y="180"/>
                  </a:cubicBezTo>
                  <a:cubicBezTo>
                    <a:pt x="176" y="176"/>
                    <a:pt x="179" y="172"/>
                    <a:pt x="179" y="167"/>
                  </a:cubicBezTo>
                  <a:cubicBezTo>
                    <a:pt x="179" y="153"/>
                    <a:pt x="161" y="169"/>
                    <a:pt x="157" y="171"/>
                  </a:cubicBezTo>
                  <a:cubicBezTo>
                    <a:pt x="139" y="183"/>
                    <a:pt x="117" y="184"/>
                    <a:pt x="97" y="186"/>
                  </a:cubicBezTo>
                  <a:cubicBezTo>
                    <a:pt x="97" y="186"/>
                    <a:pt x="97" y="186"/>
                    <a:pt x="97" y="186"/>
                  </a:cubicBezTo>
                  <a:cubicBezTo>
                    <a:pt x="77" y="172"/>
                    <a:pt x="64" y="151"/>
                    <a:pt x="52" y="129"/>
                  </a:cubicBezTo>
                  <a:cubicBezTo>
                    <a:pt x="45" y="117"/>
                    <a:pt x="40" y="98"/>
                    <a:pt x="31" y="85"/>
                  </a:cubicBezTo>
                  <a:cubicBezTo>
                    <a:pt x="36" y="66"/>
                    <a:pt x="42" y="48"/>
                    <a:pt x="51" y="30"/>
                  </a:cubicBezTo>
                  <a:cubicBezTo>
                    <a:pt x="76" y="26"/>
                    <a:pt x="99" y="22"/>
                    <a:pt x="125" y="23"/>
                  </a:cubicBezTo>
                  <a:cubicBezTo>
                    <a:pt x="136" y="23"/>
                    <a:pt x="148" y="29"/>
                    <a:pt x="158" y="29"/>
                  </a:cubicBezTo>
                  <a:cubicBezTo>
                    <a:pt x="159" y="29"/>
                    <a:pt x="161" y="28"/>
                    <a:pt x="162" y="28"/>
                  </a:cubicBezTo>
                  <a:cubicBezTo>
                    <a:pt x="171" y="37"/>
                    <a:pt x="185" y="51"/>
                    <a:pt x="188" y="54"/>
                  </a:cubicBezTo>
                  <a:cubicBezTo>
                    <a:pt x="193" y="62"/>
                    <a:pt x="199" y="69"/>
                    <a:pt x="204" y="77"/>
                  </a:cubicBezTo>
                  <a:cubicBezTo>
                    <a:pt x="202" y="78"/>
                    <a:pt x="201" y="80"/>
                    <a:pt x="201" y="83"/>
                  </a:cubicBezTo>
                  <a:cubicBezTo>
                    <a:pt x="202" y="94"/>
                    <a:pt x="199" y="105"/>
                    <a:pt x="195" y="115"/>
                  </a:cubicBezTo>
                  <a:cubicBezTo>
                    <a:pt x="190" y="126"/>
                    <a:pt x="186" y="137"/>
                    <a:pt x="180" y="148"/>
                  </a:cubicBezTo>
                  <a:cubicBezTo>
                    <a:pt x="180" y="148"/>
                    <a:pt x="181" y="149"/>
                    <a:pt x="181" y="148"/>
                  </a:cubicBezTo>
                  <a:cubicBezTo>
                    <a:pt x="198" y="139"/>
                    <a:pt x="212" y="118"/>
                    <a:pt x="216" y="97"/>
                  </a:cubicBezTo>
                  <a:cubicBezTo>
                    <a:pt x="229" y="124"/>
                    <a:pt x="237" y="152"/>
                    <a:pt x="244" y="180"/>
                  </a:cubicBezTo>
                  <a:cubicBezTo>
                    <a:pt x="245" y="184"/>
                    <a:pt x="250" y="182"/>
                    <a:pt x="250" y="179"/>
                  </a:cubicBezTo>
                  <a:cubicBezTo>
                    <a:pt x="245" y="143"/>
                    <a:pt x="235" y="112"/>
                    <a:pt x="220" y="79"/>
                  </a:cubicBezTo>
                  <a:cubicBezTo>
                    <a:pt x="207" y="53"/>
                    <a:pt x="194" y="25"/>
                    <a:pt x="164" y="16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64" y="15"/>
                    <a:pt x="163" y="14"/>
                    <a:pt x="162" y="14"/>
                  </a:cubicBezTo>
                  <a:cubicBezTo>
                    <a:pt x="138" y="3"/>
                    <a:pt x="84" y="0"/>
                    <a:pt x="57" y="17"/>
                  </a:cubicBezTo>
                  <a:cubicBezTo>
                    <a:pt x="57" y="16"/>
                    <a:pt x="56" y="16"/>
                    <a:pt x="56" y="16"/>
                  </a:cubicBezTo>
                  <a:cubicBezTo>
                    <a:pt x="34" y="20"/>
                    <a:pt x="26" y="54"/>
                    <a:pt x="21" y="72"/>
                  </a:cubicBezTo>
                  <a:cubicBezTo>
                    <a:pt x="16" y="91"/>
                    <a:pt x="12" y="110"/>
                    <a:pt x="9" y="130"/>
                  </a:cubicBezTo>
                  <a:cubicBezTo>
                    <a:pt x="6" y="147"/>
                    <a:pt x="0" y="163"/>
                    <a:pt x="4" y="180"/>
                  </a:cubicBezTo>
                  <a:cubicBezTo>
                    <a:pt x="4" y="181"/>
                    <a:pt x="6" y="181"/>
                    <a:pt x="6" y="180"/>
                  </a:cubicBezTo>
                  <a:cubicBezTo>
                    <a:pt x="18" y="160"/>
                    <a:pt x="21" y="133"/>
                    <a:pt x="26" y="109"/>
                  </a:cubicBezTo>
                  <a:cubicBezTo>
                    <a:pt x="30" y="122"/>
                    <a:pt x="37" y="134"/>
                    <a:pt x="41" y="143"/>
                  </a:cubicBezTo>
                  <a:cubicBezTo>
                    <a:pt x="52" y="165"/>
                    <a:pt x="67" y="189"/>
                    <a:pt x="87" y="203"/>
                  </a:cubicBezTo>
                  <a:cubicBezTo>
                    <a:pt x="88" y="203"/>
                    <a:pt x="88" y="203"/>
                    <a:pt x="88" y="203"/>
                  </a:cubicBezTo>
                  <a:cubicBezTo>
                    <a:pt x="71" y="230"/>
                    <a:pt x="64" y="263"/>
                    <a:pt x="56" y="293"/>
                  </a:cubicBezTo>
                  <a:cubicBezTo>
                    <a:pt x="52" y="309"/>
                    <a:pt x="39" y="335"/>
                    <a:pt x="36" y="357"/>
                  </a:cubicBezTo>
                  <a:cubicBezTo>
                    <a:pt x="51" y="357"/>
                    <a:pt x="51" y="357"/>
                    <a:pt x="51" y="357"/>
                  </a:cubicBezTo>
                  <a:cubicBezTo>
                    <a:pt x="51" y="355"/>
                    <a:pt x="51" y="354"/>
                    <a:pt x="51" y="353"/>
                  </a:cubicBezTo>
                  <a:cubicBezTo>
                    <a:pt x="55" y="336"/>
                    <a:pt x="61" y="321"/>
                    <a:pt x="67" y="305"/>
                  </a:cubicBezTo>
                  <a:cubicBezTo>
                    <a:pt x="79" y="269"/>
                    <a:pt x="96" y="237"/>
                    <a:pt x="110" y="203"/>
                  </a:cubicBezTo>
                  <a:cubicBezTo>
                    <a:pt x="121" y="202"/>
                    <a:pt x="131" y="200"/>
                    <a:pt x="140" y="197"/>
                  </a:cubicBezTo>
                  <a:cubicBezTo>
                    <a:pt x="140" y="198"/>
                    <a:pt x="141" y="199"/>
                    <a:pt x="141" y="200"/>
                  </a:cubicBezTo>
                  <a:cubicBezTo>
                    <a:pt x="145" y="209"/>
                    <a:pt x="152" y="216"/>
                    <a:pt x="158" y="225"/>
                  </a:cubicBezTo>
                  <a:cubicBezTo>
                    <a:pt x="164" y="233"/>
                    <a:pt x="170" y="241"/>
                    <a:pt x="178" y="249"/>
                  </a:cubicBezTo>
                  <a:cubicBezTo>
                    <a:pt x="178" y="249"/>
                    <a:pt x="178" y="249"/>
                    <a:pt x="178" y="248"/>
                  </a:cubicBezTo>
                  <a:cubicBezTo>
                    <a:pt x="176" y="240"/>
                    <a:pt x="173" y="232"/>
                    <a:pt x="169" y="224"/>
                  </a:cubicBezTo>
                  <a:cubicBezTo>
                    <a:pt x="165" y="214"/>
                    <a:pt x="163" y="204"/>
                    <a:pt x="159" y="195"/>
                  </a:cubicBezTo>
                  <a:cubicBezTo>
                    <a:pt x="158" y="193"/>
                    <a:pt x="157" y="192"/>
                    <a:pt x="156" y="191"/>
                  </a:cubicBezTo>
                  <a:cubicBezTo>
                    <a:pt x="157" y="190"/>
                    <a:pt x="159" y="189"/>
                    <a:pt x="160" y="188"/>
                  </a:cubicBezTo>
                  <a:cubicBezTo>
                    <a:pt x="168" y="202"/>
                    <a:pt x="179" y="215"/>
                    <a:pt x="188" y="228"/>
                  </a:cubicBezTo>
                  <a:cubicBezTo>
                    <a:pt x="200" y="247"/>
                    <a:pt x="209" y="267"/>
                    <a:pt x="217" y="287"/>
                  </a:cubicBezTo>
                  <a:cubicBezTo>
                    <a:pt x="223" y="303"/>
                    <a:pt x="228" y="319"/>
                    <a:pt x="233" y="335"/>
                  </a:cubicBezTo>
                  <a:cubicBezTo>
                    <a:pt x="235" y="342"/>
                    <a:pt x="237" y="350"/>
                    <a:pt x="239" y="357"/>
                  </a:cubicBezTo>
                  <a:cubicBezTo>
                    <a:pt x="255" y="357"/>
                    <a:pt x="255" y="357"/>
                    <a:pt x="255" y="357"/>
                  </a:cubicBezTo>
                  <a:cubicBezTo>
                    <a:pt x="254" y="348"/>
                    <a:pt x="250" y="339"/>
                    <a:pt x="248" y="331"/>
                  </a:cubicBezTo>
                  <a:cubicBezTo>
                    <a:pt x="243" y="310"/>
                    <a:pt x="236" y="289"/>
                    <a:pt x="228" y="26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89" name="Google Shape;340;p3">
              <a:extLst>
                <a:ext uri="{FF2B5EF4-FFF2-40B4-BE49-F238E27FC236}">
                  <a16:creationId xmlns:a16="http://schemas.microsoft.com/office/drawing/2014/main" id="{C29C4E77-718F-766E-E0C9-842A048B39D3}"/>
                </a:ext>
              </a:extLst>
            </p:cNvPr>
            <p:cNvSpPr/>
            <p:nvPr/>
          </p:nvSpPr>
          <p:spPr>
            <a:xfrm>
              <a:off x="6880225" y="1885951"/>
              <a:ext cx="190500" cy="288925"/>
            </a:xfrm>
            <a:custGeom>
              <a:avLst/>
              <a:gdLst/>
              <a:ahLst/>
              <a:cxnLst/>
              <a:rect l="l" t="t" r="r" b="b"/>
              <a:pathLst>
                <a:path w="113" h="172" extrusionOk="0">
                  <a:moveTo>
                    <a:pt x="14" y="0"/>
                  </a:moveTo>
                  <a:cubicBezTo>
                    <a:pt x="0" y="23"/>
                    <a:pt x="3" y="55"/>
                    <a:pt x="7" y="81"/>
                  </a:cubicBezTo>
                  <a:cubicBezTo>
                    <a:pt x="12" y="111"/>
                    <a:pt x="24" y="151"/>
                    <a:pt x="48" y="171"/>
                  </a:cubicBezTo>
                  <a:cubicBezTo>
                    <a:pt x="49" y="172"/>
                    <a:pt x="51" y="172"/>
                    <a:pt x="51" y="170"/>
                  </a:cubicBezTo>
                  <a:cubicBezTo>
                    <a:pt x="50" y="152"/>
                    <a:pt x="41" y="134"/>
                    <a:pt x="33" y="116"/>
                  </a:cubicBezTo>
                  <a:cubicBezTo>
                    <a:pt x="46" y="123"/>
                    <a:pt x="62" y="127"/>
                    <a:pt x="70" y="128"/>
                  </a:cubicBezTo>
                  <a:cubicBezTo>
                    <a:pt x="88" y="130"/>
                    <a:pt x="113" y="121"/>
                    <a:pt x="111" y="100"/>
                  </a:cubicBezTo>
                  <a:cubicBezTo>
                    <a:pt x="111" y="100"/>
                    <a:pt x="111" y="99"/>
                    <a:pt x="110" y="100"/>
                  </a:cubicBezTo>
                  <a:cubicBezTo>
                    <a:pt x="103" y="104"/>
                    <a:pt x="98" y="110"/>
                    <a:pt x="90" y="113"/>
                  </a:cubicBezTo>
                  <a:cubicBezTo>
                    <a:pt x="81" y="116"/>
                    <a:pt x="70" y="113"/>
                    <a:pt x="61" y="110"/>
                  </a:cubicBezTo>
                  <a:cubicBezTo>
                    <a:pt x="50" y="106"/>
                    <a:pt x="37" y="92"/>
                    <a:pt x="24" y="92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15" y="61"/>
                    <a:pt x="12" y="32"/>
                    <a:pt x="15" y="0"/>
                  </a:cubicBezTo>
                  <a:cubicBezTo>
                    <a:pt x="15" y="0"/>
                    <a:pt x="14" y="0"/>
                    <a:pt x="14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90" name="Google Shape;341;p3">
              <a:extLst>
                <a:ext uri="{FF2B5EF4-FFF2-40B4-BE49-F238E27FC236}">
                  <a16:creationId xmlns:a16="http://schemas.microsoft.com/office/drawing/2014/main" id="{2BCE0511-D24D-12A6-6B9C-0EF3F1E51402}"/>
                </a:ext>
              </a:extLst>
            </p:cNvPr>
            <p:cNvSpPr/>
            <p:nvPr/>
          </p:nvSpPr>
          <p:spPr>
            <a:xfrm>
              <a:off x="6713538" y="2200276"/>
              <a:ext cx="265113" cy="73025"/>
            </a:xfrm>
            <a:custGeom>
              <a:avLst/>
              <a:gdLst/>
              <a:ahLst/>
              <a:cxnLst/>
              <a:rect l="l" t="t" r="r" b="b"/>
              <a:pathLst>
                <a:path w="157" h="44" extrusionOk="0">
                  <a:moveTo>
                    <a:pt x="76" y="26"/>
                  </a:moveTo>
                  <a:cubicBezTo>
                    <a:pt x="57" y="25"/>
                    <a:pt x="26" y="25"/>
                    <a:pt x="14" y="6"/>
                  </a:cubicBezTo>
                  <a:cubicBezTo>
                    <a:pt x="11" y="0"/>
                    <a:pt x="0" y="3"/>
                    <a:pt x="1" y="10"/>
                  </a:cubicBezTo>
                  <a:cubicBezTo>
                    <a:pt x="1" y="40"/>
                    <a:pt x="43" y="44"/>
                    <a:pt x="65" y="43"/>
                  </a:cubicBezTo>
                  <a:cubicBezTo>
                    <a:pt x="94" y="43"/>
                    <a:pt x="138" y="31"/>
                    <a:pt x="156" y="8"/>
                  </a:cubicBezTo>
                  <a:cubicBezTo>
                    <a:pt x="157" y="7"/>
                    <a:pt x="155" y="6"/>
                    <a:pt x="155" y="7"/>
                  </a:cubicBezTo>
                  <a:cubicBezTo>
                    <a:pt x="131" y="25"/>
                    <a:pt x="105" y="27"/>
                    <a:pt x="76" y="2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91" name="Google Shape;342;p3">
              <a:extLst>
                <a:ext uri="{FF2B5EF4-FFF2-40B4-BE49-F238E27FC236}">
                  <a16:creationId xmlns:a16="http://schemas.microsoft.com/office/drawing/2014/main" id="{5194CB7F-BA25-1E84-6CD5-F557B41A6B6D}"/>
                </a:ext>
              </a:extLst>
            </p:cNvPr>
            <p:cNvSpPr/>
            <p:nvPr/>
          </p:nvSpPr>
          <p:spPr>
            <a:xfrm>
              <a:off x="6529388" y="1762126"/>
              <a:ext cx="276225" cy="420688"/>
            </a:xfrm>
            <a:custGeom>
              <a:avLst/>
              <a:gdLst/>
              <a:ahLst/>
              <a:cxnLst/>
              <a:rect l="l" t="t" r="r" b="b"/>
              <a:pathLst>
                <a:path w="164" h="250" extrusionOk="0">
                  <a:moveTo>
                    <a:pt x="115" y="5"/>
                  </a:moveTo>
                  <a:cubicBezTo>
                    <a:pt x="105" y="14"/>
                    <a:pt x="100" y="26"/>
                    <a:pt x="91" y="35"/>
                  </a:cubicBezTo>
                  <a:cubicBezTo>
                    <a:pt x="79" y="46"/>
                    <a:pt x="64" y="54"/>
                    <a:pt x="50" y="62"/>
                  </a:cubicBezTo>
                  <a:cubicBezTo>
                    <a:pt x="27" y="74"/>
                    <a:pt x="8" y="86"/>
                    <a:pt x="0" y="111"/>
                  </a:cubicBezTo>
                  <a:cubicBezTo>
                    <a:pt x="0" y="112"/>
                    <a:pt x="0" y="112"/>
                    <a:pt x="1" y="112"/>
                  </a:cubicBezTo>
                  <a:cubicBezTo>
                    <a:pt x="25" y="81"/>
                    <a:pt x="90" y="73"/>
                    <a:pt x="116" y="39"/>
                  </a:cubicBezTo>
                  <a:cubicBezTo>
                    <a:pt x="116" y="44"/>
                    <a:pt x="117" y="49"/>
                    <a:pt x="118" y="54"/>
                  </a:cubicBezTo>
                  <a:cubicBezTo>
                    <a:pt x="117" y="55"/>
                    <a:pt x="117" y="56"/>
                    <a:pt x="118" y="56"/>
                  </a:cubicBezTo>
                  <a:cubicBezTo>
                    <a:pt x="118" y="57"/>
                    <a:pt x="119" y="58"/>
                    <a:pt x="119" y="58"/>
                  </a:cubicBezTo>
                  <a:cubicBezTo>
                    <a:pt x="120" y="61"/>
                    <a:pt x="121" y="63"/>
                    <a:pt x="122" y="65"/>
                  </a:cubicBezTo>
                  <a:cubicBezTo>
                    <a:pt x="123" y="67"/>
                    <a:pt x="124" y="69"/>
                    <a:pt x="125" y="71"/>
                  </a:cubicBezTo>
                  <a:cubicBezTo>
                    <a:pt x="120" y="70"/>
                    <a:pt x="115" y="69"/>
                    <a:pt x="110" y="68"/>
                  </a:cubicBezTo>
                  <a:cubicBezTo>
                    <a:pt x="97" y="67"/>
                    <a:pt x="84" y="71"/>
                    <a:pt x="73" y="78"/>
                  </a:cubicBezTo>
                  <a:cubicBezTo>
                    <a:pt x="59" y="87"/>
                    <a:pt x="54" y="104"/>
                    <a:pt x="46" y="118"/>
                  </a:cubicBezTo>
                  <a:cubicBezTo>
                    <a:pt x="46" y="118"/>
                    <a:pt x="47" y="119"/>
                    <a:pt x="48" y="119"/>
                  </a:cubicBezTo>
                  <a:cubicBezTo>
                    <a:pt x="66" y="106"/>
                    <a:pt x="73" y="84"/>
                    <a:pt x="98" y="81"/>
                  </a:cubicBezTo>
                  <a:cubicBezTo>
                    <a:pt x="111" y="80"/>
                    <a:pt x="120" y="83"/>
                    <a:pt x="128" y="90"/>
                  </a:cubicBezTo>
                  <a:cubicBezTo>
                    <a:pt x="105" y="84"/>
                    <a:pt x="73" y="95"/>
                    <a:pt x="60" y="111"/>
                  </a:cubicBezTo>
                  <a:cubicBezTo>
                    <a:pt x="59" y="112"/>
                    <a:pt x="60" y="112"/>
                    <a:pt x="60" y="112"/>
                  </a:cubicBezTo>
                  <a:cubicBezTo>
                    <a:pt x="66" y="108"/>
                    <a:pt x="74" y="106"/>
                    <a:pt x="82" y="104"/>
                  </a:cubicBezTo>
                  <a:cubicBezTo>
                    <a:pt x="80" y="109"/>
                    <a:pt x="79" y="116"/>
                    <a:pt x="79" y="121"/>
                  </a:cubicBezTo>
                  <a:cubicBezTo>
                    <a:pt x="81" y="130"/>
                    <a:pt x="84" y="138"/>
                    <a:pt x="91" y="143"/>
                  </a:cubicBezTo>
                  <a:cubicBezTo>
                    <a:pt x="100" y="149"/>
                    <a:pt x="111" y="145"/>
                    <a:pt x="118" y="139"/>
                  </a:cubicBezTo>
                  <a:cubicBezTo>
                    <a:pt x="123" y="135"/>
                    <a:pt x="123" y="127"/>
                    <a:pt x="118" y="123"/>
                  </a:cubicBezTo>
                  <a:cubicBezTo>
                    <a:pt x="114" y="118"/>
                    <a:pt x="107" y="119"/>
                    <a:pt x="102" y="123"/>
                  </a:cubicBezTo>
                  <a:cubicBezTo>
                    <a:pt x="102" y="123"/>
                    <a:pt x="102" y="122"/>
                    <a:pt x="102" y="122"/>
                  </a:cubicBezTo>
                  <a:cubicBezTo>
                    <a:pt x="102" y="122"/>
                    <a:pt x="102" y="122"/>
                    <a:pt x="102" y="122"/>
                  </a:cubicBezTo>
                  <a:cubicBezTo>
                    <a:pt x="102" y="122"/>
                    <a:pt x="102" y="122"/>
                    <a:pt x="101" y="122"/>
                  </a:cubicBezTo>
                  <a:cubicBezTo>
                    <a:pt x="101" y="121"/>
                    <a:pt x="101" y="120"/>
                    <a:pt x="101" y="119"/>
                  </a:cubicBezTo>
                  <a:cubicBezTo>
                    <a:pt x="101" y="118"/>
                    <a:pt x="101" y="118"/>
                    <a:pt x="101" y="117"/>
                  </a:cubicBezTo>
                  <a:cubicBezTo>
                    <a:pt x="101" y="117"/>
                    <a:pt x="101" y="116"/>
                    <a:pt x="101" y="116"/>
                  </a:cubicBezTo>
                  <a:cubicBezTo>
                    <a:pt x="101" y="116"/>
                    <a:pt x="101" y="115"/>
                    <a:pt x="101" y="115"/>
                  </a:cubicBezTo>
                  <a:cubicBezTo>
                    <a:pt x="101" y="115"/>
                    <a:pt x="102" y="115"/>
                    <a:pt x="102" y="115"/>
                  </a:cubicBezTo>
                  <a:cubicBezTo>
                    <a:pt x="102" y="115"/>
                    <a:pt x="102" y="115"/>
                    <a:pt x="102" y="115"/>
                  </a:cubicBezTo>
                  <a:cubicBezTo>
                    <a:pt x="104" y="115"/>
                    <a:pt x="106" y="116"/>
                    <a:pt x="108" y="116"/>
                  </a:cubicBezTo>
                  <a:cubicBezTo>
                    <a:pt x="118" y="119"/>
                    <a:pt x="124" y="106"/>
                    <a:pt x="117" y="100"/>
                  </a:cubicBezTo>
                  <a:cubicBezTo>
                    <a:pt x="126" y="100"/>
                    <a:pt x="135" y="102"/>
                    <a:pt x="140" y="109"/>
                  </a:cubicBezTo>
                  <a:cubicBezTo>
                    <a:pt x="140" y="109"/>
                    <a:pt x="141" y="110"/>
                    <a:pt x="141" y="110"/>
                  </a:cubicBezTo>
                  <a:cubicBezTo>
                    <a:pt x="142" y="118"/>
                    <a:pt x="142" y="126"/>
                    <a:pt x="142" y="134"/>
                  </a:cubicBezTo>
                  <a:cubicBezTo>
                    <a:pt x="136" y="139"/>
                    <a:pt x="133" y="146"/>
                    <a:pt x="128" y="152"/>
                  </a:cubicBezTo>
                  <a:cubicBezTo>
                    <a:pt x="120" y="160"/>
                    <a:pt x="109" y="165"/>
                    <a:pt x="99" y="167"/>
                  </a:cubicBezTo>
                  <a:cubicBezTo>
                    <a:pt x="73" y="173"/>
                    <a:pt x="55" y="157"/>
                    <a:pt x="51" y="132"/>
                  </a:cubicBezTo>
                  <a:cubicBezTo>
                    <a:pt x="51" y="132"/>
                    <a:pt x="50" y="132"/>
                    <a:pt x="50" y="132"/>
                  </a:cubicBezTo>
                  <a:cubicBezTo>
                    <a:pt x="41" y="161"/>
                    <a:pt x="63" y="182"/>
                    <a:pt x="91" y="183"/>
                  </a:cubicBezTo>
                  <a:cubicBezTo>
                    <a:pt x="106" y="184"/>
                    <a:pt x="121" y="178"/>
                    <a:pt x="133" y="169"/>
                  </a:cubicBezTo>
                  <a:cubicBezTo>
                    <a:pt x="135" y="168"/>
                    <a:pt x="137" y="166"/>
                    <a:pt x="139" y="163"/>
                  </a:cubicBezTo>
                  <a:cubicBezTo>
                    <a:pt x="138" y="170"/>
                    <a:pt x="137" y="176"/>
                    <a:pt x="136" y="182"/>
                  </a:cubicBezTo>
                  <a:cubicBezTo>
                    <a:pt x="134" y="183"/>
                    <a:pt x="132" y="185"/>
                    <a:pt x="130" y="186"/>
                  </a:cubicBezTo>
                  <a:cubicBezTo>
                    <a:pt x="124" y="191"/>
                    <a:pt x="117" y="194"/>
                    <a:pt x="110" y="196"/>
                  </a:cubicBezTo>
                  <a:cubicBezTo>
                    <a:pt x="97" y="200"/>
                    <a:pt x="85" y="196"/>
                    <a:pt x="71" y="196"/>
                  </a:cubicBezTo>
                  <a:cubicBezTo>
                    <a:pt x="70" y="196"/>
                    <a:pt x="69" y="197"/>
                    <a:pt x="70" y="198"/>
                  </a:cubicBezTo>
                  <a:cubicBezTo>
                    <a:pt x="79" y="214"/>
                    <a:pt x="109" y="215"/>
                    <a:pt x="130" y="206"/>
                  </a:cubicBezTo>
                  <a:cubicBezTo>
                    <a:pt x="127" y="219"/>
                    <a:pt x="123" y="232"/>
                    <a:pt x="121" y="246"/>
                  </a:cubicBezTo>
                  <a:cubicBezTo>
                    <a:pt x="120" y="248"/>
                    <a:pt x="123" y="250"/>
                    <a:pt x="125" y="248"/>
                  </a:cubicBezTo>
                  <a:cubicBezTo>
                    <a:pt x="138" y="234"/>
                    <a:pt x="142" y="212"/>
                    <a:pt x="148" y="194"/>
                  </a:cubicBezTo>
                  <a:cubicBezTo>
                    <a:pt x="155" y="174"/>
                    <a:pt x="158" y="155"/>
                    <a:pt x="159" y="135"/>
                  </a:cubicBezTo>
                  <a:cubicBezTo>
                    <a:pt x="159" y="126"/>
                    <a:pt x="158" y="116"/>
                    <a:pt x="156" y="105"/>
                  </a:cubicBezTo>
                  <a:cubicBezTo>
                    <a:pt x="164" y="79"/>
                    <a:pt x="131" y="53"/>
                    <a:pt x="123" y="27"/>
                  </a:cubicBezTo>
                  <a:cubicBezTo>
                    <a:pt x="125" y="22"/>
                    <a:pt x="127" y="16"/>
                    <a:pt x="127" y="10"/>
                  </a:cubicBezTo>
                  <a:cubicBezTo>
                    <a:pt x="127" y="3"/>
                    <a:pt x="119" y="0"/>
                    <a:pt x="115" y="5"/>
                  </a:cubicBezTo>
                  <a:close/>
                  <a:moveTo>
                    <a:pt x="100" y="115"/>
                  </a:moveTo>
                  <a:cubicBezTo>
                    <a:pt x="99" y="115"/>
                    <a:pt x="100" y="115"/>
                    <a:pt x="100" y="115"/>
                  </a:cubicBezTo>
                  <a:close/>
                  <a:moveTo>
                    <a:pt x="101" y="124"/>
                  </a:moveTo>
                  <a:cubicBezTo>
                    <a:pt x="101" y="124"/>
                    <a:pt x="101" y="124"/>
                    <a:pt x="101" y="124"/>
                  </a:cubicBezTo>
                  <a:cubicBezTo>
                    <a:pt x="100" y="124"/>
                    <a:pt x="100" y="123"/>
                    <a:pt x="101" y="124"/>
                  </a:cubicBezTo>
                  <a:close/>
                  <a:moveTo>
                    <a:pt x="101" y="115"/>
                  </a:moveTo>
                  <a:cubicBezTo>
                    <a:pt x="101" y="115"/>
                    <a:pt x="101" y="115"/>
                    <a:pt x="101" y="115"/>
                  </a:cubicBezTo>
                  <a:cubicBezTo>
                    <a:pt x="101" y="115"/>
                    <a:pt x="101" y="115"/>
                    <a:pt x="101" y="115"/>
                  </a:cubicBezTo>
                  <a:cubicBezTo>
                    <a:pt x="101" y="114"/>
                    <a:pt x="101" y="114"/>
                    <a:pt x="101" y="114"/>
                  </a:cubicBezTo>
                  <a:cubicBezTo>
                    <a:pt x="101" y="114"/>
                    <a:pt x="101" y="114"/>
                    <a:pt x="101" y="1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92" name="Google Shape;343;p3">
              <a:extLst>
                <a:ext uri="{FF2B5EF4-FFF2-40B4-BE49-F238E27FC236}">
                  <a16:creationId xmlns:a16="http://schemas.microsoft.com/office/drawing/2014/main" id="{DFF278FE-587E-F182-4908-1C8C39DCBBB3}"/>
                </a:ext>
              </a:extLst>
            </p:cNvPr>
            <p:cNvSpPr/>
            <p:nvPr/>
          </p:nvSpPr>
          <p:spPr>
            <a:xfrm>
              <a:off x="6607175" y="2344738"/>
              <a:ext cx="490538" cy="185738"/>
            </a:xfrm>
            <a:custGeom>
              <a:avLst/>
              <a:gdLst/>
              <a:ahLst/>
              <a:cxnLst/>
              <a:rect l="l" t="t" r="r" b="b"/>
              <a:pathLst>
                <a:path w="291" h="111" extrusionOk="0">
                  <a:moveTo>
                    <a:pt x="280" y="83"/>
                  </a:moveTo>
                  <a:cubicBezTo>
                    <a:pt x="291" y="75"/>
                    <a:pt x="289" y="57"/>
                    <a:pt x="282" y="45"/>
                  </a:cubicBezTo>
                  <a:cubicBezTo>
                    <a:pt x="269" y="20"/>
                    <a:pt x="245" y="8"/>
                    <a:pt x="218" y="4"/>
                  </a:cubicBezTo>
                  <a:cubicBezTo>
                    <a:pt x="188" y="0"/>
                    <a:pt x="157" y="3"/>
                    <a:pt x="127" y="8"/>
                  </a:cubicBezTo>
                  <a:cubicBezTo>
                    <a:pt x="96" y="12"/>
                    <a:pt x="66" y="18"/>
                    <a:pt x="43" y="40"/>
                  </a:cubicBezTo>
                  <a:cubicBezTo>
                    <a:pt x="42" y="40"/>
                    <a:pt x="43" y="41"/>
                    <a:pt x="43" y="41"/>
                  </a:cubicBezTo>
                  <a:cubicBezTo>
                    <a:pt x="79" y="17"/>
                    <a:pt x="126" y="15"/>
                    <a:pt x="168" y="13"/>
                  </a:cubicBezTo>
                  <a:cubicBezTo>
                    <a:pt x="193" y="12"/>
                    <a:pt x="218" y="15"/>
                    <a:pt x="240" y="26"/>
                  </a:cubicBezTo>
                  <a:cubicBezTo>
                    <a:pt x="244" y="28"/>
                    <a:pt x="247" y="30"/>
                    <a:pt x="250" y="32"/>
                  </a:cubicBezTo>
                  <a:cubicBezTo>
                    <a:pt x="202" y="33"/>
                    <a:pt x="154" y="31"/>
                    <a:pt x="106" y="41"/>
                  </a:cubicBezTo>
                  <a:cubicBezTo>
                    <a:pt x="82" y="41"/>
                    <a:pt x="57" y="46"/>
                    <a:pt x="34" y="53"/>
                  </a:cubicBezTo>
                  <a:cubicBezTo>
                    <a:pt x="37" y="48"/>
                    <a:pt x="40" y="44"/>
                    <a:pt x="42" y="42"/>
                  </a:cubicBezTo>
                  <a:cubicBezTo>
                    <a:pt x="42" y="42"/>
                    <a:pt x="42" y="41"/>
                    <a:pt x="41" y="41"/>
                  </a:cubicBezTo>
                  <a:cubicBezTo>
                    <a:pt x="22" y="50"/>
                    <a:pt x="0" y="84"/>
                    <a:pt x="18" y="103"/>
                  </a:cubicBezTo>
                  <a:cubicBezTo>
                    <a:pt x="26" y="111"/>
                    <a:pt x="38" y="110"/>
                    <a:pt x="48" y="108"/>
                  </a:cubicBezTo>
                  <a:cubicBezTo>
                    <a:pt x="54" y="107"/>
                    <a:pt x="59" y="101"/>
                    <a:pt x="64" y="98"/>
                  </a:cubicBezTo>
                  <a:cubicBezTo>
                    <a:pt x="71" y="95"/>
                    <a:pt x="79" y="90"/>
                    <a:pt x="84" y="85"/>
                  </a:cubicBezTo>
                  <a:cubicBezTo>
                    <a:pt x="85" y="84"/>
                    <a:pt x="85" y="83"/>
                    <a:pt x="84" y="83"/>
                  </a:cubicBezTo>
                  <a:cubicBezTo>
                    <a:pt x="75" y="82"/>
                    <a:pt x="65" y="87"/>
                    <a:pt x="56" y="89"/>
                  </a:cubicBezTo>
                  <a:cubicBezTo>
                    <a:pt x="50" y="91"/>
                    <a:pt x="42" y="91"/>
                    <a:pt x="35" y="91"/>
                  </a:cubicBezTo>
                  <a:cubicBezTo>
                    <a:pt x="23" y="92"/>
                    <a:pt x="24" y="79"/>
                    <a:pt x="28" y="67"/>
                  </a:cubicBezTo>
                  <a:cubicBezTo>
                    <a:pt x="29" y="67"/>
                    <a:pt x="29" y="67"/>
                    <a:pt x="30" y="66"/>
                  </a:cubicBezTo>
                  <a:cubicBezTo>
                    <a:pt x="57" y="56"/>
                    <a:pt x="84" y="49"/>
                    <a:pt x="112" y="42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1" y="41"/>
                  </a:cubicBezTo>
                  <a:cubicBezTo>
                    <a:pt x="160" y="36"/>
                    <a:pt x="208" y="45"/>
                    <a:pt x="256" y="44"/>
                  </a:cubicBezTo>
                  <a:cubicBezTo>
                    <a:pt x="258" y="44"/>
                    <a:pt x="259" y="44"/>
                    <a:pt x="260" y="43"/>
                  </a:cubicBezTo>
                  <a:cubicBezTo>
                    <a:pt x="261" y="45"/>
                    <a:pt x="262" y="47"/>
                    <a:pt x="263" y="49"/>
                  </a:cubicBezTo>
                  <a:cubicBezTo>
                    <a:pt x="268" y="56"/>
                    <a:pt x="268" y="64"/>
                    <a:pt x="267" y="71"/>
                  </a:cubicBezTo>
                  <a:cubicBezTo>
                    <a:pt x="257" y="75"/>
                    <a:pt x="248" y="79"/>
                    <a:pt x="235" y="79"/>
                  </a:cubicBezTo>
                  <a:cubicBezTo>
                    <a:pt x="215" y="80"/>
                    <a:pt x="194" y="75"/>
                    <a:pt x="174" y="72"/>
                  </a:cubicBezTo>
                  <a:cubicBezTo>
                    <a:pt x="149" y="69"/>
                    <a:pt x="113" y="65"/>
                    <a:pt x="91" y="80"/>
                  </a:cubicBezTo>
                  <a:cubicBezTo>
                    <a:pt x="91" y="81"/>
                    <a:pt x="91" y="81"/>
                    <a:pt x="92" y="81"/>
                  </a:cubicBezTo>
                  <a:cubicBezTo>
                    <a:pt x="128" y="71"/>
                    <a:pt x="170" y="88"/>
                    <a:pt x="206" y="95"/>
                  </a:cubicBezTo>
                  <a:cubicBezTo>
                    <a:pt x="228" y="98"/>
                    <a:pt x="265" y="104"/>
                    <a:pt x="280" y="8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93" name="Google Shape;344;p3">
              <a:extLst>
                <a:ext uri="{FF2B5EF4-FFF2-40B4-BE49-F238E27FC236}">
                  <a16:creationId xmlns:a16="http://schemas.microsoft.com/office/drawing/2014/main" id="{9F1A9EFA-DBBA-72C7-B288-15D0936778CD}"/>
                </a:ext>
              </a:extLst>
            </p:cNvPr>
            <p:cNvSpPr/>
            <p:nvPr/>
          </p:nvSpPr>
          <p:spPr>
            <a:xfrm>
              <a:off x="6778625" y="2541588"/>
              <a:ext cx="193675" cy="38100"/>
            </a:xfrm>
            <a:custGeom>
              <a:avLst/>
              <a:gdLst/>
              <a:ahLst/>
              <a:cxnLst/>
              <a:rect l="l" t="t" r="r" b="b"/>
              <a:pathLst>
                <a:path w="115" h="23" extrusionOk="0">
                  <a:moveTo>
                    <a:pt x="1" y="21"/>
                  </a:moveTo>
                  <a:cubicBezTo>
                    <a:pt x="0" y="22"/>
                    <a:pt x="1" y="23"/>
                    <a:pt x="1" y="22"/>
                  </a:cubicBezTo>
                  <a:cubicBezTo>
                    <a:pt x="22" y="13"/>
                    <a:pt x="45" y="13"/>
                    <a:pt x="68" y="15"/>
                  </a:cubicBezTo>
                  <a:cubicBezTo>
                    <a:pt x="83" y="16"/>
                    <a:pt x="100" y="21"/>
                    <a:pt x="114" y="14"/>
                  </a:cubicBezTo>
                  <a:cubicBezTo>
                    <a:pt x="115" y="13"/>
                    <a:pt x="115" y="11"/>
                    <a:pt x="114" y="10"/>
                  </a:cubicBezTo>
                  <a:cubicBezTo>
                    <a:pt x="98" y="0"/>
                    <a:pt x="72" y="1"/>
                    <a:pt x="54" y="0"/>
                  </a:cubicBezTo>
                  <a:cubicBezTo>
                    <a:pt x="33" y="0"/>
                    <a:pt x="14" y="5"/>
                    <a:pt x="1" y="2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94" name="Google Shape;345;p3">
              <a:extLst>
                <a:ext uri="{FF2B5EF4-FFF2-40B4-BE49-F238E27FC236}">
                  <a16:creationId xmlns:a16="http://schemas.microsoft.com/office/drawing/2014/main" id="{197A233D-10FB-64FE-4F82-C9EAC4453192}"/>
                </a:ext>
              </a:extLst>
            </p:cNvPr>
            <p:cNvSpPr/>
            <p:nvPr/>
          </p:nvSpPr>
          <p:spPr>
            <a:xfrm>
              <a:off x="6988175" y="2168526"/>
              <a:ext cx="184150" cy="354013"/>
            </a:xfrm>
            <a:custGeom>
              <a:avLst/>
              <a:gdLst/>
              <a:ahLst/>
              <a:cxnLst/>
              <a:rect l="l" t="t" r="r" b="b"/>
              <a:pathLst>
                <a:path w="109" h="211" extrusionOk="0">
                  <a:moveTo>
                    <a:pt x="67" y="210"/>
                  </a:moveTo>
                  <a:cubicBezTo>
                    <a:pt x="109" y="204"/>
                    <a:pt x="82" y="116"/>
                    <a:pt x="72" y="93"/>
                  </a:cubicBezTo>
                  <a:cubicBezTo>
                    <a:pt x="58" y="62"/>
                    <a:pt x="39" y="9"/>
                    <a:pt x="2" y="1"/>
                  </a:cubicBezTo>
                  <a:cubicBezTo>
                    <a:pt x="1" y="0"/>
                    <a:pt x="0" y="2"/>
                    <a:pt x="1" y="2"/>
                  </a:cubicBezTo>
                  <a:cubicBezTo>
                    <a:pt x="32" y="21"/>
                    <a:pt x="48" y="57"/>
                    <a:pt x="59" y="90"/>
                  </a:cubicBezTo>
                  <a:cubicBezTo>
                    <a:pt x="67" y="111"/>
                    <a:pt x="71" y="133"/>
                    <a:pt x="72" y="155"/>
                  </a:cubicBezTo>
                  <a:cubicBezTo>
                    <a:pt x="74" y="174"/>
                    <a:pt x="66" y="190"/>
                    <a:pt x="64" y="208"/>
                  </a:cubicBezTo>
                  <a:cubicBezTo>
                    <a:pt x="64" y="210"/>
                    <a:pt x="65" y="211"/>
                    <a:pt x="67" y="21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95" name="Google Shape;346;p3">
              <a:extLst>
                <a:ext uri="{FF2B5EF4-FFF2-40B4-BE49-F238E27FC236}">
                  <a16:creationId xmlns:a16="http://schemas.microsoft.com/office/drawing/2014/main" id="{74CE96FF-C3CF-9EF2-463D-F63381D2B19E}"/>
                </a:ext>
              </a:extLst>
            </p:cNvPr>
            <p:cNvSpPr/>
            <p:nvPr/>
          </p:nvSpPr>
          <p:spPr>
            <a:xfrm>
              <a:off x="6538913" y="2209801"/>
              <a:ext cx="142875" cy="357188"/>
            </a:xfrm>
            <a:custGeom>
              <a:avLst/>
              <a:gdLst/>
              <a:ahLst/>
              <a:cxnLst/>
              <a:rect l="l" t="t" r="r" b="b"/>
              <a:pathLst>
                <a:path w="85" h="212" extrusionOk="0">
                  <a:moveTo>
                    <a:pt x="85" y="1"/>
                  </a:moveTo>
                  <a:cubicBezTo>
                    <a:pt x="85" y="0"/>
                    <a:pt x="84" y="0"/>
                    <a:pt x="84" y="0"/>
                  </a:cubicBezTo>
                  <a:cubicBezTo>
                    <a:pt x="47" y="17"/>
                    <a:pt x="26" y="72"/>
                    <a:pt x="15" y="109"/>
                  </a:cubicBezTo>
                  <a:cubicBezTo>
                    <a:pt x="9" y="133"/>
                    <a:pt x="0" y="212"/>
                    <a:pt x="42" y="211"/>
                  </a:cubicBezTo>
                  <a:cubicBezTo>
                    <a:pt x="44" y="211"/>
                    <a:pt x="46" y="210"/>
                    <a:pt x="46" y="208"/>
                  </a:cubicBezTo>
                  <a:cubicBezTo>
                    <a:pt x="45" y="193"/>
                    <a:pt x="32" y="185"/>
                    <a:pt x="28" y="171"/>
                  </a:cubicBezTo>
                  <a:cubicBezTo>
                    <a:pt x="20" y="148"/>
                    <a:pt x="26" y="120"/>
                    <a:pt x="32" y="97"/>
                  </a:cubicBezTo>
                  <a:cubicBezTo>
                    <a:pt x="42" y="61"/>
                    <a:pt x="64" y="32"/>
                    <a:pt x="85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96" name="Google Shape;347;p3">
              <a:extLst>
                <a:ext uri="{FF2B5EF4-FFF2-40B4-BE49-F238E27FC236}">
                  <a16:creationId xmlns:a16="http://schemas.microsoft.com/office/drawing/2014/main" id="{0AA4A290-DC9D-B803-B7D7-CEC79C72081D}"/>
                </a:ext>
              </a:extLst>
            </p:cNvPr>
            <p:cNvSpPr/>
            <p:nvPr/>
          </p:nvSpPr>
          <p:spPr>
            <a:xfrm>
              <a:off x="6913563" y="1770063"/>
              <a:ext cx="273050" cy="276225"/>
            </a:xfrm>
            <a:custGeom>
              <a:avLst/>
              <a:gdLst/>
              <a:ahLst/>
              <a:cxnLst/>
              <a:rect l="l" t="t" r="r" b="b"/>
              <a:pathLst>
                <a:path w="162" h="165" extrusionOk="0">
                  <a:moveTo>
                    <a:pt x="64" y="147"/>
                  </a:moveTo>
                  <a:cubicBezTo>
                    <a:pt x="41" y="160"/>
                    <a:pt x="16" y="133"/>
                    <a:pt x="14" y="111"/>
                  </a:cubicBezTo>
                  <a:cubicBezTo>
                    <a:pt x="13" y="110"/>
                    <a:pt x="13" y="110"/>
                    <a:pt x="13" y="111"/>
                  </a:cubicBezTo>
                  <a:cubicBezTo>
                    <a:pt x="8" y="137"/>
                    <a:pt x="26" y="162"/>
                    <a:pt x="52" y="164"/>
                  </a:cubicBezTo>
                  <a:cubicBezTo>
                    <a:pt x="71" y="165"/>
                    <a:pt x="96" y="145"/>
                    <a:pt x="100" y="124"/>
                  </a:cubicBezTo>
                  <a:cubicBezTo>
                    <a:pt x="102" y="129"/>
                    <a:pt x="103" y="135"/>
                    <a:pt x="106" y="141"/>
                  </a:cubicBezTo>
                  <a:cubicBezTo>
                    <a:pt x="106" y="143"/>
                    <a:pt x="109" y="144"/>
                    <a:pt x="111" y="142"/>
                  </a:cubicBezTo>
                  <a:cubicBezTo>
                    <a:pt x="162" y="96"/>
                    <a:pt x="19" y="32"/>
                    <a:pt x="6" y="1"/>
                  </a:cubicBezTo>
                  <a:cubicBezTo>
                    <a:pt x="5" y="0"/>
                    <a:pt x="4" y="0"/>
                    <a:pt x="4" y="1"/>
                  </a:cubicBezTo>
                  <a:cubicBezTo>
                    <a:pt x="0" y="24"/>
                    <a:pt x="19" y="42"/>
                    <a:pt x="36" y="56"/>
                  </a:cubicBezTo>
                  <a:cubicBezTo>
                    <a:pt x="34" y="57"/>
                    <a:pt x="31" y="58"/>
                    <a:pt x="29" y="59"/>
                  </a:cubicBezTo>
                  <a:cubicBezTo>
                    <a:pt x="16" y="66"/>
                    <a:pt x="8" y="81"/>
                    <a:pt x="11" y="95"/>
                  </a:cubicBezTo>
                  <a:cubicBezTo>
                    <a:pt x="11" y="95"/>
                    <a:pt x="12" y="95"/>
                    <a:pt x="12" y="95"/>
                  </a:cubicBezTo>
                  <a:cubicBezTo>
                    <a:pt x="15" y="84"/>
                    <a:pt x="23" y="76"/>
                    <a:pt x="32" y="71"/>
                  </a:cubicBezTo>
                  <a:cubicBezTo>
                    <a:pt x="40" y="67"/>
                    <a:pt x="47" y="67"/>
                    <a:pt x="54" y="69"/>
                  </a:cubicBezTo>
                  <a:cubicBezTo>
                    <a:pt x="58" y="72"/>
                    <a:pt x="61" y="74"/>
                    <a:pt x="65" y="77"/>
                  </a:cubicBezTo>
                  <a:cubicBezTo>
                    <a:pt x="48" y="76"/>
                    <a:pt x="30" y="79"/>
                    <a:pt x="18" y="91"/>
                  </a:cubicBezTo>
                  <a:cubicBezTo>
                    <a:pt x="17" y="91"/>
                    <a:pt x="18" y="92"/>
                    <a:pt x="18" y="92"/>
                  </a:cubicBezTo>
                  <a:cubicBezTo>
                    <a:pt x="23" y="89"/>
                    <a:pt x="29" y="88"/>
                    <a:pt x="35" y="88"/>
                  </a:cubicBezTo>
                  <a:cubicBezTo>
                    <a:pt x="31" y="91"/>
                    <a:pt x="29" y="95"/>
                    <a:pt x="27" y="99"/>
                  </a:cubicBezTo>
                  <a:cubicBezTo>
                    <a:pt x="26" y="103"/>
                    <a:pt x="26" y="107"/>
                    <a:pt x="27" y="111"/>
                  </a:cubicBezTo>
                  <a:cubicBezTo>
                    <a:pt x="28" y="116"/>
                    <a:pt x="31" y="120"/>
                    <a:pt x="35" y="122"/>
                  </a:cubicBezTo>
                  <a:cubicBezTo>
                    <a:pt x="38" y="125"/>
                    <a:pt x="42" y="126"/>
                    <a:pt x="46" y="127"/>
                  </a:cubicBezTo>
                  <a:cubicBezTo>
                    <a:pt x="48" y="127"/>
                    <a:pt x="50" y="127"/>
                    <a:pt x="52" y="127"/>
                  </a:cubicBezTo>
                  <a:cubicBezTo>
                    <a:pt x="53" y="127"/>
                    <a:pt x="57" y="128"/>
                    <a:pt x="52" y="127"/>
                  </a:cubicBezTo>
                  <a:cubicBezTo>
                    <a:pt x="60" y="128"/>
                    <a:pt x="67" y="124"/>
                    <a:pt x="67" y="116"/>
                  </a:cubicBezTo>
                  <a:cubicBezTo>
                    <a:pt x="67" y="107"/>
                    <a:pt x="57" y="102"/>
                    <a:pt x="50" y="106"/>
                  </a:cubicBezTo>
                  <a:cubicBezTo>
                    <a:pt x="50" y="105"/>
                    <a:pt x="51" y="105"/>
                    <a:pt x="51" y="105"/>
                  </a:cubicBezTo>
                  <a:cubicBezTo>
                    <a:pt x="51" y="105"/>
                    <a:pt x="51" y="105"/>
                    <a:pt x="51" y="105"/>
                  </a:cubicBezTo>
                  <a:cubicBezTo>
                    <a:pt x="52" y="104"/>
                    <a:pt x="49" y="105"/>
                    <a:pt x="50" y="105"/>
                  </a:cubicBezTo>
                  <a:cubicBezTo>
                    <a:pt x="50" y="105"/>
                    <a:pt x="49" y="105"/>
                    <a:pt x="49" y="105"/>
                  </a:cubicBezTo>
                  <a:cubicBezTo>
                    <a:pt x="48" y="105"/>
                    <a:pt x="48" y="105"/>
                    <a:pt x="47" y="105"/>
                  </a:cubicBezTo>
                  <a:cubicBezTo>
                    <a:pt x="47" y="105"/>
                    <a:pt x="46" y="105"/>
                    <a:pt x="46" y="105"/>
                  </a:cubicBezTo>
                  <a:cubicBezTo>
                    <a:pt x="45" y="105"/>
                    <a:pt x="45" y="105"/>
                    <a:pt x="45" y="104"/>
                  </a:cubicBezTo>
                  <a:cubicBezTo>
                    <a:pt x="46" y="103"/>
                    <a:pt x="46" y="102"/>
                    <a:pt x="48" y="101"/>
                  </a:cubicBezTo>
                  <a:cubicBezTo>
                    <a:pt x="48" y="101"/>
                    <a:pt x="48" y="100"/>
                    <a:pt x="49" y="100"/>
                  </a:cubicBezTo>
                  <a:cubicBezTo>
                    <a:pt x="49" y="100"/>
                    <a:pt x="49" y="100"/>
                    <a:pt x="49" y="100"/>
                  </a:cubicBezTo>
                  <a:cubicBezTo>
                    <a:pt x="50" y="100"/>
                    <a:pt x="50" y="100"/>
                    <a:pt x="51" y="101"/>
                  </a:cubicBezTo>
                  <a:cubicBezTo>
                    <a:pt x="52" y="101"/>
                    <a:pt x="52" y="101"/>
                    <a:pt x="53" y="101"/>
                  </a:cubicBezTo>
                  <a:cubicBezTo>
                    <a:pt x="52" y="101"/>
                    <a:pt x="52" y="101"/>
                    <a:pt x="53" y="101"/>
                  </a:cubicBezTo>
                  <a:cubicBezTo>
                    <a:pt x="59" y="102"/>
                    <a:pt x="62" y="98"/>
                    <a:pt x="61" y="93"/>
                  </a:cubicBezTo>
                  <a:cubicBezTo>
                    <a:pt x="61" y="91"/>
                    <a:pt x="61" y="90"/>
                    <a:pt x="60" y="89"/>
                  </a:cubicBezTo>
                  <a:cubicBezTo>
                    <a:pt x="60" y="89"/>
                    <a:pt x="60" y="89"/>
                    <a:pt x="61" y="89"/>
                  </a:cubicBezTo>
                  <a:cubicBezTo>
                    <a:pt x="71" y="90"/>
                    <a:pt x="79" y="94"/>
                    <a:pt x="88" y="98"/>
                  </a:cubicBezTo>
                  <a:cubicBezTo>
                    <a:pt x="91" y="102"/>
                    <a:pt x="93" y="106"/>
                    <a:pt x="95" y="110"/>
                  </a:cubicBezTo>
                  <a:cubicBezTo>
                    <a:pt x="83" y="122"/>
                    <a:pt x="80" y="137"/>
                    <a:pt x="64" y="147"/>
                  </a:cubicBezTo>
                  <a:close/>
                  <a:moveTo>
                    <a:pt x="42" y="103"/>
                  </a:moveTo>
                  <a:cubicBezTo>
                    <a:pt x="43" y="103"/>
                    <a:pt x="43" y="103"/>
                    <a:pt x="43" y="104"/>
                  </a:cubicBezTo>
                  <a:cubicBezTo>
                    <a:pt x="42" y="103"/>
                    <a:pt x="41" y="103"/>
                    <a:pt x="42" y="10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097" name="Google Shape;348;p3">
              <a:extLst>
                <a:ext uri="{FF2B5EF4-FFF2-40B4-BE49-F238E27FC236}">
                  <a16:creationId xmlns:a16="http://schemas.microsoft.com/office/drawing/2014/main" id="{16D6CA70-EF55-6D35-F766-7C70BA7AEB60}"/>
                </a:ext>
              </a:extLst>
            </p:cNvPr>
            <p:cNvSpPr/>
            <p:nvPr/>
          </p:nvSpPr>
          <p:spPr>
            <a:xfrm>
              <a:off x="6999288" y="1946276"/>
              <a:ext cx="1588" cy="158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grpSp>
        <p:nvGrpSpPr>
          <p:cNvPr id="2098" name="Google Shape;404;p3">
            <a:extLst>
              <a:ext uri="{FF2B5EF4-FFF2-40B4-BE49-F238E27FC236}">
                <a16:creationId xmlns:a16="http://schemas.microsoft.com/office/drawing/2014/main" id="{D260B70C-6D58-491F-DB79-83B3C9AB8655}"/>
              </a:ext>
            </a:extLst>
          </p:cNvPr>
          <p:cNvGrpSpPr/>
          <p:nvPr/>
        </p:nvGrpSpPr>
        <p:grpSpPr>
          <a:xfrm>
            <a:off x="4166586" y="4540718"/>
            <a:ext cx="1034907" cy="1239193"/>
            <a:chOff x="4078288" y="3706813"/>
            <a:chExt cx="1749425" cy="2335214"/>
          </a:xfrm>
        </p:grpSpPr>
        <p:sp>
          <p:nvSpPr>
            <p:cNvPr id="2099" name="Google Shape;405;p3">
              <a:extLst>
                <a:ext uri="{FF2B5EF4-FFF2-40B4-BE49-F238E27FC236}">
                  <a16:creationId xmlns:a16="http://schemas.microsoft.com/office/drawing/2014/main" id="{B0CD1262-20E7-458B-6833-4B5726E79696}"/>
                </a:ext>
              </a:extLst>
            </p:cNvPr>
            <p:cNvSpPr/>
            <p:nvPr/>
          </p:nvSpPr>
          <p:spPr>
            <a:xfrm>
              <a:off x="4189413" y="3792539"/>
              <a:ext cx="1435100" cy="1700213"/>
            </a:xfrm>
            <a:custGeom>
              <a:avLst/>
              <a:gdLst/>
              <a:ahLst/>
              <a:cxnLst/>
              <a:rect l="l" t="t" r="r" b="b"/>
              <a:pathLst>
                <a:path w="852" h="1011" extrusionOk="0">
                  <a:moveTo>
                    <a:pt x="634" y="56"/>
                  </a:moveTo>
                  <a:cubicBezTo>
                    <a:pt x="553" y="6"/>
                    <a:pt x="458" y="0"/>
                    <a:pt x="366" y="18"/>
                  </a:cubicBezTo>
                  <a:cubicBezTo>
                    <a:pt x="299" y="31"/>
                    <a:pt x="226" y="61"/>
                    <a:pt x="181" y="113"/>
                  </a:cubicBezTo>
                  <a:cubicBezTo>
                    <a:pt x="148" y="151"/>
                    <a:pt x="141" y="205"/>
                    <a:pt x="131" y="252"/>
                  </a:cubicBezTo>
                  <a:cubicBezTo>
                    <a:pt x="121" y="301"/>
                    <a:pt x="127" y="350"/>
                    <a:pt x="118" y="398"/>
                  </a:cubicBezTo>
                  <a:cubicBezTo>
                    <a:pt x="72" y="360"/>
                    <a:pt x="21" y="380"/>
                    <a:pt x="6" y="436"/>
                  </a:cubicBezTo>
                  <a:cubicBezTo>
                    <a:pt x="0" y="462"/>
                    <a:pt x="2" y="486"/>
                    <a:pt x="6" y="511"/>
                  </a:cubicBezTo>
                  <a:cubicBezTo>
                    <a:pt x="10" y="535"/>
                    <a:pt x="12" y="564"/>
                    <a:pt x="27" y="584"/>
                  </a:cubicBezTo>
                  <a:cubicBezTo>
                    <a:pt x="45" y="609"/>
                    <a:pt x="76" y="609"/>
                    <a:pt x="104" y="605"/>
                  </a:cubicBezTo>
                  <a:cubicBezTo>
                    <a:pt x="111" y="659"/>
                    <a:pt x="126" y="711"/>
                    <a:pt x="151" y="760"/>
                  </a:cubicBezTo>
                  <a:cubicBezTo>
                    <a:pt x="179" y="813"/>
                    <a:pt x="213" y="845"/>
                    <a:pt x="267" y="868"/>
                  </a:cubicBezTo>
                  <a:cubicBezTo>
                    <a:pt x="289" y="877"/>
                    <a:pt x="304" y="888"/>
                    <a:pt x="315" y="910"/>
                  </a:cubicBezTo>
                  <a:cubicBezTo>
                    <a:pt x="326" y="931"/>
                    <a:pt x="335" y="952"/>
                    <a:pt x="353" y="968"/>
                  </a:cubicBezTo>
                  <a:cubicBezTo>
                    <a:pt x="387" y="1000"/>
                    <a:pt x="443" y="1011"/>
                    <a:pt x="488" y="1001"/>
                  </a:cubicBezTo>
                  <a:cubicBezTo>
                    <a:pt x="539" y="990"/>
                    <a:pt x="578" y="942"/>
                    <a:pt x="572" y="890"/>
                  </a:cubicBezTo>
                  <a:cubicBezTo>
                    <a:pt x="572" y="883"/>
                    <a:pt x="570" y="877"/>
                    <a:pt x="569" y="870"/>
                  </a:cubicBezTo>
                  <a:cubicBezTo>
                    <a:pt x="609" y="849"/>
                    <a:pt x="645" y="816"/>
                    <a:pt x="673" y="781"/>
                  </a:cubicBezTo>
                  <a:cubicBezTo>
                    <a:pt x="704" y="743"/>
                    <a:pt x="715" y="699"/>
                    <a:pt x="722" y="652"/>
                  </a:cubicBezTo>
                  <a:cubicBezTo>
                    <a:pt x="726" y="624"/>
                    <a:pt x="731" y="596"/>
                    <a:pt x="730" y="569"/>
                  </a:cubicBezTo>
                  <a:cubicBezTo>
                    <a:pt x="786" y="608"/>
                    <a:pt x="815" y="552"/>
                    <a:pt x="828" y="503"/>
                  </a:cubicBezTo>
                  <a:cubicBezTo>
                    <a:pt x="840" y="456"/>
                    <a:pt x="852" y="386"/>
                    <a:pt x="793" y="366"/>
                  </a:cubicBezTo>
                  <a:cubicBezTo>
                    <a:pt x="763" y="357"/>
                    <a:pt x="736" y="365"/>
                    <a:pt x="713" y="385"/>
                  </a:cubicBezTo>
                  <a:cubicBezTo>
                    <a:pt x="711" y="340"/>
                    <a:pt x="715" y="297"/>
                    <a:pt x="706" y="252"/>
                  </a:cubicBezTo>
                  <a:cubicBezTo>
                    <a:pt x="699" y="212"/>
                    <a:pt x="692" y="171"/>
                    <a:pt x="678" y="132"/>
                  </a:cubicBezTo>
                  <a:cubicBezTo>
                    <a:pt x="673" y="116"/>
                    <a:pt x="663" y="87"/>
                    <a:pt x="646" y="79"/>
                  </a:cubicBezTo>
                  <a:cubicBezTo>
                    <a:pt x="634" y="56"/>
                    <a:pt x="634" y="56"/>
                    <a:pt x="634" y="56"/>
                  </a:cubicBezTo>
                  <a:close/>
                </a:path>
              </a:pathLst>
            </a:custGeom>
            <a:solidFill>
              <a:srgbClr val="FEDEC7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00" name="Google Shape;406;p3">
              <a:extLst>
                <a:ext uri="{FF2B5EF4-FFF2-40B4-BE49-F238E27FC236}">
                  <a16:creationId xmlns:a16="http://schemas.microsoft.com/office/drawing/2014/main" id="{95CB0991-24DC-6F3D-0870-682564C04997}"/>
                </a:ext>
              </a:extLst>
            </p:cNvPr>
            <p:cNvSpPr/>
            <p:nvPr/>
          </p:nvSpPr>
          <p:spPr>
            <a:xfrm>
              <a:off x="4348163" y="3735389"/>
              <a:ext cx="1095375" cy="776288"/>
            </a:xfrm>
            <a:custGeom>
              <a:avLst/>
              <a:gdLst/>
              <a:ahLst/>
              <a:cxnLst/>
              <a:rect l="l" t="t" r="r" b="b"/>
              <a:pathLst>
                <a:path w="651" h="461" extrusionOk="0">
                  <a:moveTo>
                    <a:pt x="536" y="87"/>
                  </a:moveTo>
                  <a:cubicBezTo>
                    <a:pt x="503" y="34"/>
                    <a:pt x="455" y="15"/>
                    <a:pt x="394" y="7"/>
                  </a:cubicBezTo>
                  <a:cubicBezTo>
                    <a:pt x="332" y="0"/>
                    <a:pt x="274" y="9"/>
                    <a:pt x="215" y="30"/>
                  </a:cubicBezTo>
                  <a:cubicBezTo>
                    <a:pt x="159" y="50"/>
                    <a:pt x="105" y="77"/>
                    <a:pt x="64" y="122"/>
                  </a:cubicBezTo>
                  <a:cubicBezTo>
                    <a:pt x="20" y="171"/>
                    <a:pt x="14" y="225"/>
                    <a:pt x="13" y="288"/>
                  </a:cubicBezTo>
                  <a:cubicBezTo>
                    <a:pt x="12" y="342"/>
                    <a:pt x="0" y="410"/>
                    <a:pt x="44" y="451"/>
                  </a:cubicBezTo>
                  <a:cubicBezTo>
                    <a:pt x="48" y="455"/>
                    <a:pt x="52" y="458"/>
                    <a:pt x="57" y="461"/>
                  </a:cubicBezTo>
                  <a:cubicBezTo>
                    <a:pt x="61" y="389"/>
                    <a:pt x="57" y="311"/>
                    <a:pt x="77" y="241"/>
                  </a:cubicBezTo>
                  <a:cubicBezTo>
                    <a:pt x="99" y="165"/>
                    <a:pt x="153" y="145"/>
                    <a:pt x="226" y="161"/>
                  </a:cubicBezTo>
                  <a:cubicBezTo>
                    <a:pt x="262" y="168"/>
                    <a:pt x="297" y="179"/>
                    <a:pt x="334" y="177"/>
                  </a:cubicBezTo>
                  <a:cubicBezTo>
                    <a:pt x="371" y="175"/>
                    <a:pt x="404" y="161"/>
                    <a:pt x="438" y="148"/>
                  </a:cubicBezTo>
                  <a:cubicBezTo>
                    <a:pt x="465" y="138"/>
                    <a:pt x="497" y="124"/>
                    <a:pt x="526" y="134"/>
                  </a:cubicBezTo>
                  <a:cubicBezTo>
                    <a:pt x="553" y="143"/>
                    <a:pt x="569" y="171"/>
                    <a:pt x="578" y="197"/>
                  </a:cubicBezTo>
                  <a:cubicBezTo>
                    <a:pt x="602" y="265"/>
                    <a:pt x="602" y="341"/>
                    <a:pt x="604" y="412"/>
                  </a:cubicBezTo>
                  <a:cubicBezTo>
                    <a:pt x="605" y="421"/>
                    <a:pt x="605" y="430"/>
                    <a:pt x="606" y="438"/>
                  </a:cubicBezTo>
                  <a:cubicBezTo>
                    <a:pt x="640" y="435"/>
                    <a:pt x="641" y="409"/>
                    <a:pt x="641" y="380"/>
                  </a:cubicBezTo>
                  <a:cubicBezTo>
                    <a:pt x="641" y="350"/>
                    <a:pt x="645" y="320"/>
                    <a:pt x="645" y="290"/>
                  </a:cubicBezTo>
                  <a:cubicBezTo>
                    <a:pt x="644" y="234"/>
                    <a:pt x="651" y="177"/>
                    <a:pt x="620" y="127"/>
                  </a:cubicBezTo>
                  <a:cubicBezTo>
                    <a:pt x="603" y="102"/>
                    <a:pt x="579" y="91"/>
                    <a:pt x="549" y="87"/>
                  </a:cubicBezTo>
                  <a:cubicBezTo>
                    <a:pt x="536" y="87"/>
                    <a:pt x="536" y="87"/>
                    <a:pt x="536" y="87"/>
                  </a:cubicBezTo>
                  <a:close/>
                </a:path>
              </a:pathLst>
            </a:custGeom>
            <a:solidFill>
              <a:srgbClr val="8E684F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01" name="Google Shape;407;p3">
              <a:extLst>
                <a:ext uri="{FF2B5EF4-FFF2-40B4-BE49-F238E27FC236}">
                  <a16:creationId xmlns:a16="http://schemas.microsoft.com/office/drawing/2014/main" id="{0C952B35-F26A-D5F6-A4FF-1420B0B71FCC}"/>
                </a:ext>
              </a:extLst>
            </p:cNvPr>
            <p:cNvSpPr/>
            <p:nvPr/>
          </p:nvSpPr>
          <p:spPr>
            <a:xfrm>
              <a:off x="4098926" y="5302251"/>
              <a:ext cx="1711325" cy="739775"/>
            </a:xfrm>
            <a:custGeom>
              <a:avLst/>
              <a:gdLst/>
              <a:ahLst/>
              <a:cxnLst/>
              <a:rect l="l" t="t" r="r" b="b"/>
              <a:pathLst>
                <a:path w="1017" h="440" extrusionOk="0">
                  <a:moveTo>
                    <a:pt x="363" y="11"/>
                  </a:moveTo>
                  <a:cubicBezTo>
                    <a:pt x="347" y="9"/>
                    <a:pt x="331" y="26"/>
                    <a:pt x="322" y="36"/>
                  </a:cubicBezTo>
                  <a:cubicBezTo>
                    <a:pt x="308" y="54"/>
                    <a:pt x="311" y="63"/>
                    <a:pt x="312" y="83"/>
                  </a:cubicBezTo>
                  <a:cubicBezTo>
                    <a:pt x="274" y="96"/>
                    <a:pt x="237" y="113"/>
                    <a:pt x="198" y="126"/>
                  </a:cubicBezTo>
                  <a:cubicBezTo>
                    <a:pt x="163" y="138"/>
                    <a:pt x="125" y="148"/>
                    <a:pt x="99" y="175"/>
                  </a:cubicBezTo>
                  <a:cubicBezTo>
                    <a:pt x="76" y="200"/>
                    <a:pt x="63" y="233"/>
                    <a:pt x="51" y="265"/>
                  </a:cubicBezTo>
                  <a:cubicBezTo>
                    <a:pt x="38" y="300"/>
                    <a:pt x="23" y="336"/>
                    <a:pt x="14" y="373"/>
                  </a:cubicBezTo>
                  <a:cubicBezTo>
                    <a:pt x="8" y="395"/>
                    <a:pt x="4" y="418"/>
                    <a:pt x="0" y="440"/>
                  </a:cubicBezTo>
                  <a:cubicBezTo>
                    <a:pt x="1017" y="440"/>
                    <a:pt x="1017" y="440"/>
                    <a:pt x="1017" y="440"/>
                  </a:cubicBezTo>
                  <a:cubicBezTo>
                    <a:pt x="1013" y="421"/>
                    <a:pt x="1008" y="401"/>
                    <a:pt x="1003" y="381"/>
                  </a:cubicBezTo>
                  <a:cubicBezTo>
                    <a:pt x="992" y="341"/>
                    <a:pt x="990" y="298"/>
                    <a:pt x="976" y="259"/>
                  </a:cubicBezTo>
                  <a:cubicBezTo>
                    <a:pt x="965" y="226"/>
                    <a:pt x="950" y="187"/>
                    <a:pt x="927" y="161"/>
                  </a:cubicBezTo>
                  <a:cubicBezTo>
                    <a:pt x="902" y="132"/>
                    <a:pt x="860" y="120"/>
                    <a:pt x="825" y="106"/>
                  </a:cubicBezTo>
                  <a:cubicBezTo>
                    <a:pt x="783" y="89"/>
                    <a:pt x="739" y="76"/>
                    <a:pt x="696" y="61"/>
                  </a:cubicBezTo>
                  <a:cubicBezTo>
                    <a:pt x="695" y="40"/>
                    <a:pt x="695" y="31"/>
                    <a:pt x="676" y="20"/>
                  </a:cubicBezTo>
                  <a:cubicBezTo>
                    <a:pt x="662" y="13"/>
                    <a:pt x="647" y="7"/>
                    <a:pt x="633" y="0"/>
                  </a:cubicBezTo>
                  <a:cubicBezTo>
                    <a:pt x="621" y="32"/>
                    <a:pt x="611" y="53"/>
                    <a:pt x="588" y="78"/>
                  </a:cubicBezTo>
                  <a:cubicBezTo>
                    <a:pt x="580" y="87"/>
                    <a:pt x="569" y="98"/>
                    <a:pt x="559" y="103"/>
                  </a:cubicBezTo>
                  <a:cubicBezTo>
                    <a:pt x="545" y="110"/>
                    <a:pt x="527" y="104"/>
                    <a:pt x="512" y="105"/>
                  </a:cubicBezTo>
                  <a:cubicBezTo>
                    <a:pt x="494" y="107"/>
                    <a:pt x="477" y="112"/>
                    <a:pt x="458" y="110"/>
                  </a:cubicBezTo>
                  <a:cubicBezTo>
                    <a:pt x="459" y="86"/>
                    <a:pt x="430" y="79"/>
                    <a:pt x="412" y="70"/>
                  </a:cubicBezTo>
                  <a:cubicBezTo>
                    <a:pt x="401" y="64"/>
                    <a:pt x="368" y="33"/>
                    <a:pt x="373" y="24"/>
                  </a:cubicBezTo>
                  <a:cubicBezTo>
                    <a:pt x="363" y="11"/>
                    <a:pt x="363" y="11"/>
                    <a:pt x="363" y="11"/>
                  </a:cubicBezTo>
                  <a:close/>
                </a:path>
              </a:pathLst>
            </a:custGeom>
            <a:solidFill>
              <a:srgbClr val="ECF8FE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02" name="Google Shape;408;p3">
              <a:extLst>
                <a:ext uri="{FF2B5EF4-FFF2-40B4-BE49-F238E27FC236}">
                  <a16:creationId xmlns:a16="http://schemas.microsoft.com/office/drawing/2014/main" id="{8B12F068-BA3A-3F80-3AEC-A8F502E7C420}"/>
                </a:ext>
              </a:extLst>
            </p:cNvPr>
            <p:cNvSpPr/>
            <p:nvPr/>
          </p:nvSpPr>
          <p:spPr>
            <a:xfrm>
              <a:off x="4813301" y="5461001"/>
              <a:ext cx="377825" cy="581025"/>
            </a:xfrm>
            <a:custGeom>
              <a:avLst/>
              <a:gdLst/>
              <a:ahLst/>
              <a:cxnLst/>
              <a:rect l="l" t="t" r="r" b="b"/>
              <a:pathLst>
                <a:path w="224" h="346" extrusionOk="0">
                  <a:moveTo>
                    <a:pt x="144" y="12"/>
                  </a:moveTo>
                  <a:cubicBezTo>
                    <a:pt x="109" y="6"/>
                    <a:pt x="67" y="0"/>
                    <a:pt x="33" y="13"/>
                  </a:cubicBezTo>
                  <a:cubicBezTo>
                    <a:pt x="1" y="25"/>
                    <a:pt x="0" y="82"/>
                    <a:pt x="13" y="109"/>
                  </a:cubicBezTo>
                  <a:cubicBezTo>
                    <a:pt x="21" y="124"/>
                    <a:pt x="32" y="141"/>
                    <a:pt x="43" y="155"/>
                  </a:cubicBezTo>
                  <a:cubicBezTo>
                    <a:pt x="53" y="166"/>
                    <a:pt x="70" y="176"/>
                    <a:pt x="71" y="192"/>
                  </a:cubicBezTo>
                  <a:cubicBezTo>
                    <a:pt x="72" y="209"/>
                    <a:pt x="56" y="229"/>
                    <a:pt x="51" y="245"/>
                  </a:cubicBezTo>
                  <a:cubicBezTo>
                    <a:pt x="45" y="264"/>
                    <a:pt x="40" y="283"/>
                    <a:pt x="34" y="302"/>
                  </a:cubicBezTo>
                  <a:cubicBezTo>
                    <a:pt x="30" y="317"/>
                    <a:pt x="27" y="332"/>
                    <a:pt x="24" y="346"/>
                  </a:cubicBezTo>
                  <a:cubicBezTo>
                    <a:pt x="224" y="346"/>
                    <a:pt x="224" y="346"/>
                    <a:pt x="224" y="346"/>
                  </a:cubicBezTo>
                  <a:cubicBezTo>
                    <a:pt x="221" y="333"/>
                    <a:pt x="217" y="320"/>
                    <a:pt x="213" y="307"/>
                  </a:cubicBezTo>
                  <a:cubicBezTo>
                    <a:pt x="203" y="275"/>
                    <a:pt x="187" y="242"/>
                    <a:pt x="172" y="212"/>
                  </a:cubicBezTo>
                  <a:cubicBezTo>
                    <a:pt x="164" y="196"/>
                    <a:pt x="153" y="183"/>
                    <a:pt x="141" y="169"/>
                  </a:cubicBezTo>
                  <a:cubicBezTo>
                    <a:pt x="151" y="148"/>
                    <a:pt x="170" y="133"/>
                    <a:pt x="178" y="110"/>
                  </a:cubicBezTo>
                  <a:cubicBezTo>
                    <a:pt x="188" y="83"/>
                    <a:pt x="190" y="71"/>
                    <a:pt x="174" y="46"/>
                  </a:cubicBezTo>
                  <a:cubicBezTo>
                    <a:pt x="169" y="38"/>
                    <a:pt x="162" y="29"/>
                    <a:pt x="156" y="23"/>
                  </a:cubicBezTo>
                  <a:cubicBezTo>
                    <a:pt x="144" y="12"/>
                    <a:pt x="144" y="12"/>
                    <a:pt x="144" y="12"/>
                  </a:cubicBezTo>
                  <a:close/>
                </a:path>
              </a:pathLst>
            </a:custGeom>
            <a:solidFill>
              <a:srgbClr val="007C9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03" name="Google Shape;409;p3">
              <a:extLst>
                <a:ext uri="{FF2B5EF4-FFF2-40B4-BE49-F238E27FC236}">
                  <a16:creationId xmlns:a16="http://schemas.microsoft.com/office/drawing/2014/main" id="{2AAFB574-5462-17A4-CDAF-BD221C0B6470}"/>
                </a:ext>
              </a:extLst>
            </p:cNvPr>
            <p:cNvSpPr/>
            <p:nvPr/>
          </p:nvSpPr>
          <p:spPr>
            <a:xfrm>
              <a:off x="4214813" y="4476751"/>
              <a:ext cx="155575" cy="292100"/>
            </a:xfrm>
            <a:custGeom>
              <a:avLst/>
              <a:gdLst/>
              <a:ahLst/>
              <a:cxnLst/>
              <a:rect l="l" t="t" r="r" b="b"/>
              <a:pathLst>
                <a:path w="93" h="173" extrusionOk="0">
                  <a:moveTo>
                    <a:pt x="80" y="108"/>
                  </a:moveTo>
                  <a:cubicBezTo>
                    <a:pt x="74" y="83"/>
                    <a:pt x="92" y="60"/>
                    <a:pt x="82" y="35"/>
                  </a:cubicBezTo>
                  <a:cubicBezTo>
                    <a:pt x="73" y="13"/>
                    <a:pt x="42" y="0"/>
                    <a:pt x="21" y="15"/>
                  </a:cubicBezTo>
                  <a:cubicBezTo>
                    <a:pt x="0" y="31"/>
                    <a:pt x="13" y="59"/>
                    <a:pt x="17" y="80"/>
                  </a:cubicBezTo>
                  <a:cubicBezTo>
                    <a:pt x="21" y="105"/>
                    <a:pt x="18" y="128"/>
                    <a:pt x="37" y="148"/>
                  </a:cubicBezTo>
                  <a:cubicBezTo>
                    <a:pt x="62" y="173"/>
                    <a:pt x="93" y="156"/>
                    <a:pt x="86" y="122"/>
                  </a:cubicBezTo>
                  <a:cubicBezTo>
                    <a:pt x="80" y="108"/>
                    <a:pt x="80" y="108"/>
                    <a:pt x="80" y="108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04" name="Google Shape;410;p3">
              <a:extLst>
                <a:ext uri="{FF2B5EF4-FFF2-40B4-BE49-F238E27FC236}">
                  <a16:creationId xmlns:a16="http://schemas.microsoft.com/office/drawing/2014/main" id="{2D281729-C4E6-D04A-4942-6E729AD86629}"/>
                </a:ext>
              </a:extLst>
            </p:cNvPr>
            <p:cNvSpPr/>
            <p:nvPr/>
          </p:nvSpPr>
          <p:spPr>
            <a:xfrm>
              <a:off x="5437188" y="4464051"/>
              <a:ext cx="123825" cy="258763"/>
            </a:xfrm>
            <a:custGeom>
              <a:avLst/>
              <a:gdLst/>
              <a:ahLst/>
              <a:cxnLst/>
              <a:rect l="l" t="t" r="r" b="b"/>
              <a:pathLst>
                <a:path w="74" h="154" extrusionOk="0">
                  <a:moveTo>
                    <a:pt x="70" y="60"/>
                  </a:moveTo>
                  <a:cubicBezTo>
                    <a:pt x="74" y="37"/>
                    <a:pt x="72" y="14"/>
                    <a:pt x="46" y="7"/>
                  </a:cubicBezTo>
                  <a:cubicBezTo>
                    <a:pt x="23" y="0"/>
                    <a:pt x="4" y="17"/>
                    <a:pt x="2" y="40"/>
                  </a:cubicBezTo>
                  <a:cubicBezTo>
                    <a:pt x="0" y="63"/>
                    <a:pt x="13" y="80"/>
                    <a:pt x="8" y="105"/>
                  </a:cubicBezTo>
                  <a:cubicBezTo>
                    <a:pt x="4" y="125"/>
                    <a:pt x="8" y="154"/>
                    <a:pt x="37" y="143"/>
                  </a:cubicBezTo>
                  <a:cubicBezTo>
                    <a:pt x="59" y="134"/>
                    <a:pt x="67" y="104"/>
                    <a:pt x="70" y="83"/>
                  </a:cubicBezTo>
                  <a:cubicBezTo>
                    <a:pt x="70" y="60"/>
                    <a:pt x="70" y="60"/>
                    <a:pt x="70" y="60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05" name="Google Shape;411;p3">
              <a:extLst>
                <a:ext uri="{FF2B5EF4-FFF2-40B4-BE49-F238E27FC236}">
                  <a16:creationId xmlns:a16="http://schemas.microsoft.com/office/drawing/2014/main" id="{E7A3F68B-BB01-00A3-4097-9ABE9320D66C}"/>
                </a:ext>
              </a:extLst>
            </p:cNvPr>
            <p:cNvSpPr/>
            <p:nvPr/>
          </p:nvSpPr>
          <p:spPr>
            <a:xfrm>
              <a:off x="4362451" y="4511676"/>
              <a:ext cx="1063625" cy="812800"/>
            </a:xfrm>
            <a:custGeom>
              <a:avLst/>
              <a:gdLst/>
              <a:ahLst/>
              <a:cxnLst/>
              <a:rect l="l" t="t" r="r" b="b"/>
              <a:pathLst>
                <a:path w="631" h="484" extrusionOk="0">
                  <a:moveTo>
                    <a:pt x="36" y="6"/>
                  </a:moveTo>
                  <a:cubicBezTo>
                    <a:pt x="31" y="84"/>
                    <a:pt x="24" y="166"/>
                    <a:pt x="50" y="241"/>
                  </a:cubicBezTo>
                  <a:cubicBezTo>
                    <a:pt x="74" y="312"/>
                    <a:pt x="128" y="365"/>
                    <a:pt x="197" y="393"/>
                  </a:cubicBezTo>
                  <a:cubicBezTo>
                    <a:pt x="270" y="422"/>
                    <a:pt x="354" y="426"/>
                    <a:pt x="429" y="402"/>
                  </a:cubicBezTo>
                  <a:cubicBezTo>
                    <a:pt x="499" y="381"/>
                    <a:pt x="558" y="334"/>
                    <a:pt x="587" y="266"/>
                  </a:cubicBezTo>
                  <a:cubicBezTo>
                    <a:pt x="617" y="195"/>
                    <a:pt x="614" y="114"/>
                    <a:pt x="609" y="38"/>
                  </a:cubicBezTo>
                  <a:cubicBezTo>
                    <a:pt x="608" y="28"/>
                    <a:pt x="608" y="18"/>
                    <a:pt x="607" y="8"/>
                  </a:cubicBezTo>
                  <a:cubicBezTo>
                    <a:pt x="618" y="95"/>
                    <a:pt x="631" y="186"/>
                    <a:pt x="606" y="271"/>
                  </a:cubicBezTo>
                  <a:cubicBezTo>
                    <a:pt x="583" y="351"/>
                    <a:pt x="525" y="414"/>
                    <a:pt x="449" y="447"/>
                  </a:cubicBezTo>
                  <a:cubicBezTo>
                    <a:pt x="370" y="481"/>
                    <a:pt x="276" y="484"/>
                    <a:pt x="194" y="455"/>
                  </a:cubicBezTo>
                  <a:cubicBezTo>
                    <a:pt x="117" y="427"/>
                    <a:pt x="56" y="368"/>
                    <a:pt x="29" y="291"/>
                  </a:cubicBezTo>
                  <a:cubicBezTo>
                    <a:pt x="0" y="208"/>
                    <a:pt x="9" y="118"/>
                    <a:pt x="20" y="33"/>
                  </a:cubicBezTo>
                  <a:cubicBezTo>
                    <a:pt x="21" y="22"/>
                    <a:pt x="22" y="11"/>
                    <a:pt x="24" y="0"/>
                  </a:cubicBezTo>
                  <a:cubicBezTo>
                    <a:pt x="36" y="6"/>
                    <a:pt x="36" y="6"/>
                    <a:pt x="36" y="6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06" name="Google Shape;412;p3">
              <a:extLst>
                <a:ext uri="{FF2B5EF4-FFF2-40B4-BE49-F238E27FC236}">
                  <a16:creationId xmlns:a16="http://schemas.microsoft.com/office/drawing/2014/main" id="{FBCE8D05-BFEB-601C-A753-C233A6C28C60}"/>
                </a:ext>
              </a:extLst>
            </p:cNvPr>
            <p:cNvSpPr/>
            <p:nvPr/>
          </p:nvSpPr>
          <p:spPr>
            <a:xfrm>
              <a:off x="4816476" y="4408489"/>
              <a:ext cx="252413" cy="247650"/>
            </a:xfrm>
            <a:custGeom>
              <a:avLst/>
              <a:gdLst/>
              <a:ahLst/>
              <a:cxnLst/>
              <a:rect l="l" t="t" r="r" b="b"/>
              <a:pathLst>
                <a:path w="150" h="147" extrusionOk="0">
                  <a:moveTo>
                    <a:pt x="150" y="107"/>
                  </a:moveTo>
                  <a:cubicBezTo>
                    <a:pt x="124" y="116"/>
                    <a:pt x="93" y="114"/>
                    <a:pt x="67" y="108"/>
                  </a:cubicBezTo>
                  <a:cubicBezTo>
                    <a:pt x="56" y="105"/>
                    <a:pt x="38" y="100"/>
                    <a:pt x="32" y="91"/>
                  </a:cubicBezTo>
                  <a:cubicBezTo>
                    <a:pt x="22" y="80"/>
                    <a:pt x="29" y="63"/>
                    <a:pt x="31" y="50"/>
                  </a:cubicBezTo>
                  <a:cubicBezTo>
                    <a:pt x="32" y="33"/>
                    <a:pt x="33" y="16"/>
                    <a:pt x="34" y="0"/>
                  </a:cubicBezTo>
                  <a:cubicBezTo>
                    <a:pt x="30" y="19"/>
                    <a:pt x="25" y="38"/>
                    <a:pt x="20" y="57"/>
                  </a:cubicBezTo>
                  <a:cubicBezTo>
                    <a:pt x="15" y="72"/>
                    <a:pt x="4" y="89"/>
                    <a:pt x="3" y="105"/>
                  </a:cubicBezTo>
                  <a:cubicBezTo>
                    <a:pt x="0" y="147"/>
                    <a:pt x="65" y="143"/>
                    <a:pt x="92" y="138"/>
                  </a:cubicBezTo>
                  <a:cubicBezTo>
                    <a:pt x="110" y="134"/>
                    <a:pt x="127" y="126"/>
                    <a:pt x="144" y="119"/>
                  </a:cubicBezTo>
                  <a:cubicBezTo>
                    <a:pt x="150" y="107"/>
                    <a:pt x="150" y="107"/>
                    <a:pt x="150" y="107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07" name="Google Shape;413;p3">
              <a:extLst>
                <a:ext uri="{FF2B5EF4-FFF2-40B4-BE49-F238E27FC236}">
                  <a16:creationId xmlns:a16="http://schemas.microsoft.com/office/drawing/2014/main" id="{34C6B38D-B556-ED40-819E-01F2B5434C22}"/>
                </a:ext>
              </a:extLst>
            </p:cNvPr>
            <p:cNvSpPr/>
            <p:nvPr/>
          </p:nvSpPr>
          <p:spPr>
            <a:xfrm>
              <a:off x="4364038" y="3887789"/>
              <a:ext cx="828675" cy="617538"/>
            </a:xfrm>
            <a:custGeom>
              <a:avLst/>
              <a:gdLst/>
              <a:ahLst/>
              <a:cxnLst/>
              <a:rect l="l" t="t" r="r" b="b"/>
              <a:pathLst>
                <a:path w="492" h="368" extrusionOk="0">
                  <a:moveTo>
                    <a:pt x="489" y="31"/>
                  </a:moveTo>
                  <a:cubicBezTo>
                    <a:pt x="442" y="52"/>
                    <a:pt x="395" y="60"/>
                    <a:pt x="343" y="55"/>
                  </a:cubicBezTo>
                  <a:cubicBezTo>
                    <a:pt x="288" y="49"/>
                    <a:pt x="243" y="16"/>
                    <a:pt x="190" y="7"/>
                  </a:cubicBezTo>
                  <a:cubicBezTo>
                    <a:pt x="139" y="0"/>
                    <a:pt x="92" y="24"/>
                    <a:pt x="64" y="66"/>
                  </a:cubicBezTo>
                  <a:cubicBezTo>
                    <a:pt x="36" y="108"/>
                    <a:pt x="27" y="156"/>
                    <a:pt x="24" y="206"/>
                  </a:cubicBezTo>
                  <a:cubicBezTo>
                    <a:pt x="21" y="253"/>
                    <a:pt x="0" y="319"/>
                    <a:pt x="35" y="357"/>
                  </a:cubicBezTo>
                  <a:cubicBezTo>
                    <a:pt x="38" y="361"/>
                    <a:pt x="42" y="365"/>
                    <a:pt x="45" y="368"/>
                  </a:cubicBezTo>
                  <a:cubicBezTo>
                    <a:pt x="49" y="319"/>
                    <a:pt x="50" y="270"/>
                    <a:pt x="54" y="221"/>
                  </a:cubicBezTo>
                  <a:cubicBezTo>
                    <a:pt x="57" y="176"/>
                    <a:pt x="65" y="126"/>
                    <a:pt x="99" y="93"/>
                  </a:cubicBezTo>
                  <a:cubicBezTo>
                    <a:pt x="169" y="26"/>
                    <a:pt x="279" y="98"/>
                    <a:pt x="362" y="86"/>
                  </a:cubicBezTo>
                  <a:cubicBezTo>
                    <a:pt x="410" y="80"/>
                    <a:pt x="452" y="56"/>
                    <a:pt x="492" y="31"/>
                  </a:cubicBezTo>
                  <a:cubicBezTo>
                    <a:pt x="489" y="31"/>
                    <a:pt x="489" y="31"/>
                    <a:pt x="489" y="31"/>
                  </a:cubicBezTo>
                  <a:close/>
                </a:path>
              </a:pathLst>
            </a:custGeom>
            <a:solidFill>
              <a:srgbClr val="6F4E39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08" name="Google Shape;414;p3">
              <a:extLst>
                <a:ext uri="{FF2B5EF4-FFF2-40B4-BE49-F238E27FC236}">
                  <a16:creationId xmlns:a16="http://schemas.microsoft.com/office/drawing/2014/main" id="{897E0795-FD32-6DD1-8000-64D76F503289}"/>
                </a:ext>
              </a:extLst>
            </p:cNvPr>
            <p:cNvSpPr/>
            <p:nvPr/>
          </p:nvSpPr>
          <p:spPr>
            <a:xfrm>
              <a:off x="5260976" y="3873501"/>
              <a:ext cx="185738" cy="596900"/>
            </a:xfrm>
            <a:custGeom>
              <a:avLst/>
              <a:gdLst/>
              <a:ahLst/>
              <a:cxnLst/>
              <a:rect l="l" t="t" r="r" b="b"/>
              <a:pathLst>
                <a:path w="111" h="355" extrusionOk="0">
                  <a:moveTo>
                    <a:pt x="0" y="8"/>
                  </a:moveTo>
                  <a:cubicBezTo>
                    <a:pt x="43" y="31"/>
                    <a:pt x="73" y="59"/>
                    <a:pt x="79" y="111"/>
                  </a:cubicBezTo>
                  <a:cubicBezTo>
                    <a:pt x="84" y="160"/>
                    <a:pt x="86" y="217"/>
                    <a:pt x="81" y="267"/>
                  </a:cubicBezTo>
                  <a:cubicBezTo>
                    <a:pt x="79" y="296"/>
                    <a:pt x="76" y="326"/>
                    <a:pt x="77" y="355"/>
                  </a:cubicBezTo>
                  <a:cubicBezTo>
                    <a:pt x="103" y="338"/>
                    <a:pt x="95" y="308"/>
                    <a:pt x="96" y="282"/>
                  </a:cubicBezTo>
                  <a:cubicBezTo>
                    <a:pt x="98" y="254"/>
                    <a:pt x="104" y="226"/>
                    <a:pt x="106" y="198"/>
                  </a:cubicBezTo>
                  <a:cubicBezTo>
                    <a:pt x="111" y="151"/>
                    <a:pt x="106" y="73"/>
                    <a:pt x="75" y="35"/>
                  </a:cubicBezTo>
                  <a:cubicBezTo>
                    <a:pt x="56" y="12"/>
                    <a:pt x="33" y="0"/>
                    <a:pt x="3" y="5"/>
                  </a:cubicBezTo>
                  <a:cubicBezTo>
                    <a:pt x="0" y="8"/>
                    <a:pt x="0" y="8"/>
                    <a:pt x="0" y="8"/>
                  </a:cubicBezTo>
                  <a:close/>
                </a:path>
              </a:pathLst>
            </a:custGeom>
            <a:solidFill>
              <a:srgbClr val="6F4E39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09" name="Google Shape;415;p3">
              <a:extLst>
                <a:ext uri="{FF2B5EF4-FFF2-40B4-BE49-F238E27FC236}">
                  <a16:creationId xmlns:a16="http://schemas.microsoft.com/office/drawing/2014/main" id="{54D1744E-F4DA-A403-4853-9DE94A79726B}"/>
                </a:ext>
              </a:extLst>
            </p:cNvPr>
            <p:cNvSpPr/>
            <p:nvPr/>
          </p:nvSpPr>
          <p:spPr>
            <a:xfrm>
              <a:off x="4429126" y="3740151"/>
              <a:ext cx="823913" cy="239713"/>
            </a:xfrm>
            <a:custGeom>
              <a:avLst/>
              <a:gdLst/>
              <a:ahLst/>
              <a:cxnLst/>
              <a:rect l="l" t="t" r="r" b="b"/>
              <a:pathLst>
                <a:path w="490" h="143" extrusionOk="0">
                  <a:moveTo>
                    <a:pt x="108" y="47"/>
                  </a:moveTo>
                  <a:cubicBezTo>
                    <a:pt x="159" y="15"/>
                    <a:pt x="223" y="5"/>
                    <a:pt x="283" y="2"/>
                  </a:cubicBezTo>
                  <a:cubicBezTo>
                    <a:pt x="340" y="0"/>
                    <a:pt x="390" y="11"/>
                    <a:pt x="441" y="38"/>
                  </a:cubicBezTo>
                  <a:cubicBezTo>
                    <a:pt x="468" y="53"/>
                    <a:pt x="490" y="69"/>
                    <a:pt x="474" y="102"/>
                  </a:cubicBezTo>
                  <a:cubicBezTo>
                    <a:pt x="430" y="44"/>
                    <a:pt x="366" y="30"/>
                    <a:pt x="295" y="33"/>
                  </a:cubicBezTo>
                  <a:cubicBezTo>
                    <a:pt x="225" y="35"/>
                    <a:pt x="153" y="50"/>
                    <a:pt x="86" y="73"/>
                  </a:cubicBezTo>
                  <a:cubicBezTo>
                    <a:pt x="50" y="86"/>
                    <a:pt x="26" y="116"/>
                    <a:pt x="0" y="143"/>
                  </a:cubicBezTo>
                  <a:cubicBezTo>
                    <a:pt x="108" y="47"/>
                    <a:pt x="108" y="47"/>
                    <a:pt x="108" y="47"/>
                  </a:cubicBezTo>
                  <a:close/>
                </a:path>
              </a:pathLst>
            </a:custGeom>
            <a:solidFill>
              <a:srgbClr val="6F4E39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10" name="Google Shape;416;p3">
              <a:extLst>
                <a:ext uri="{FF2B5EF4-FFF2-40B4-BE49-F238E27FC236}">
                  <a16:creationId xmlns:a16="http://schemas.microsoft.com/office/drawing/2014/main" id="{49783FFC-24E5-19E2-EB2A-A15FB6DF2B7F}"/>
                </a:ext>
              </a:extLst>
            </p:cNvPr>
            <p:cNvSpPr/>
            <p:nvPr/>
          </p:nvSpPr>
          <p:spPr>
            <a:xfrm>
              <a:off x="4672013" y="5591176"/>
              <a:ext cx="273050" cy="450850"/>
            </a:xfrm>
            <a:custGeom>
              <a:avLst/>
              <a:gdLst/>
              <a:ahLst/>
              <a:cxnLst/>
              <a:rect l="l" t="t" r="r" b="b"/>
              <a:pathLst>
                <a:path w="162" h="268" extrusionOk="0">
                  <a:moveTo>
                    <a:pt x="68" y="268"/>
                  </a:moveTo>
                  <a:cubicBezTo>
                    <a:pt x="75" y="223"/>
                    <a:pt x="88" y="177"/>
                    <a:pt x="99" y="136"/>
                  </a:cubicBezTo>
                  <a:cubicBezTo>
                    <a:pt x="102" y="122"/>
                    <a:pt x="100" y="109"/>
                    <a:pt x="90" y="97"/>
                  </a:cubicBezTo>
                  <a:cubicBezTo>
                    <a:pt x="84" y="107"/>
                    <a:pt x="75" y="121"/>
                    <a:pt x="67" y="130"/>
                  </a:cubicBezTo>
                  <a:cubicBezTo>
                    <a:pt x="50" y="112"/>
                    <a:pt x="35" y="93"/>
                    <a:pt x="25" y="70"/>
                  </a:cubicBezTo>
                  <a:cubicBezTo>
                    <a:pt x="16" y="48"/>
                    <a:pt x="12" y="19"/>
                    <a:pt x="0" y="0"/>
                  </a:cubicBezTo>
                  <a:cubicBezTo>
                    <a:pt x="29" y="22"/>
                    <a:pt x="39" y="61"/>
                    <a:pt x="66" y="87"/>
                  </a:cubicBezTo>
                  <a:cubicBezTo>
                    <a:pt x="70" y="57"/>
                    <a:pt x="76" y="28"/>
                    <a:pt x="86" y="1"/>
                  </a:cubicBezTo>
                  <a:cubicBezTo>
                    <a:pt x="116" y="36"/>
                    <a:pt x="123" y="92"/>
                    <a:pt x="162" y="119"/>
                  </a:cubicBezTo>
                  <a:cubicBezTo>
                    <a:pt x="159" y="135"/>
                    <a:pt x="148" y="150"/>
                    <a:pt x="142" y="165"/>
                  </a:cubicBezTo>
                  <a:cubicBezTo>
                    <a:pt x="135" y="182"/>
                    <a:pt x="130" y="199"/>
                    <a:pt x="125" y="216"/>
                  </a:cubicBezTo>
                  <a:cubicBezTo>
                    <a:pt x="120" y="234"/>
                    <a:pt x="115" y="251"/>
                    <a:pt x="112" y="268"/>
                  </a:cubicBezTo>
                  <a:cubicBezTo>
                    <a:pt x="68" y="268"/>
                    <a:pt x="68" y="268"/>
                    <a:pt x="68" y="268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11" name="Google Shape;417;p3">
              <a:extLst>
                <a:ext uri="{FF2B5EF4-FFF2-40B4-BE49-F238E27FC236}">
                  <a16:creationId xmlns:a16="http://schemas.microsoft.com/office/drawing/2014/main" id="{78D4445B-853A-72E1-D54C-F13D75F6BF80}"/>
                </a:ext>
              </a:extLst>
            </p:cNvPr>
            <p:cNvSpPr/>
            <p:nvPr/>
          </p:nvSpPr>
          <p:spPr>
            <a:xfrm>
              <a:off x="5048251" y="5537201"/>
              <a:ext cx="223838" cy="504825"/>
            </a:xfrm>
            <a:custGeom>
              <a:avLst/>
              <a:gdLst/>
              <a:ahLst/>
              <a:cxnLst/>
              <a:rect l="l" t="t" r="r" b="b"/>
              <a:pathLst>
                <a:path w="133" h="300" extrusionOk="0">
                  <a:moveTo>
                    <a:pt x="82" y="300"/>
                  </a:moveTo>
                  <a:cubicBezTo>
                    <a:pt x="76" y="273"/>
                    <a:pt x="68" y="246"/>
                    <a:pt x="56" y="219"/>
                  </a:cubicBezTo>
                  <a:cubicBezTo>
                    <a:pt x="46" y="197"/>
                    <a:pt x="35" y="178"/>
                    <a:pt x="22" y="158"/>
                  </a:cubicBezTo>
                  <a:cubicBezTo>
                    <a:pt x="6" y="134"/>
                    <a:pt x="0" y="122"/>
                    <a:pt x="17" y="96"/>
                  </a:cubicBezTo>
                  <a:cubicBezTo>
                    <a:pt x="31" y="74"/>
                    <a:pt x="46" y="54"/>
                    <a:pt x="51" y="27"/>
                  </a:cubicBezTo>
                  <a:cubicBezTo>
                    <a:pt x="74" y="49"/>
                    <a:pt x="81" y="93"/>
                    <a:pt x="87" y="120"/>
                  </a:cubicBezTo>
                  <a:cubicBezTo>
                    <a:pt x="113" y="93"/>
                    <a:pt x="125" y="36"/>
                    <a:pt x="126" y="0"/>
                  </a:cubicBezTo>
                  <a:cubicBezTo>
                    <a:pt x="133" y="18"/>
                    <a:pt x="128" y="52"/>
                    <a:pt x="127" y="72"/>
                  </a:cubicBezTo>
                  <a:cubicBezTo>
                    <a:pt x="126" y="98"/>
                    <a:pt x="126" y="125"/>
                    <a:pt x="126" y="152"/>
                  </a:cubicBezTo>
                  <a:cubicBezTo>
                    <a:pt x="126" y="201"/>
                    <a:pt x="124" y="251"/>
                    <a:pt x="124" y="300"/>
                  </a:cubicBezTo>
                  <a:cubicBezTo>
                    <a:pt x="82" y="300"/>
                    <a:pt x="82" y="300"/>
                    <a:pt x="82" y="300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12" name="Google Shape;418;p3">
              <a:extLst>
                <a:ext uri="{FF2B5EF4-FFF2-40B4-BE49-F238E27FC236}">
                  <a16:creationId xmlns:a16="http://schemas.microsoft.com/office/drawing/2014/main" id="{33146CCA-E0C1-D4C5-A247-E0849027DED0}"/>
                </a:ext>
              </a:extLst>
            </p:cNvPr>
            <p:cNvSpPr/>
            <p:nvPr/>
          </p:nvSpPr>
          <p:spPr>
            <a:xfrm>
              <a:off x="4300538" y="5751514"/>
              <a:ext cx="111125" cy="290513"/>
            </a:xfrm>
            <a:custGeom>
              <a:avLst/>
              <a:gdLst/>
              <a:ahLst/>
              <a:cxnLst/>
              <a:rect l="l" t="t" r="r" b="b"/>
              <a:pathLst>
                <a:path w="66" h="173" extrusionOk="0">
                  <a:moveTo>
                    <a:pt x="4" y="173"/>
                  </a:moveTo>
                  <a:cubicBezTo>
                    <a:pt x="5" y="161"/>
                    <a:pt x="6" y="149"/>
                    <a:pt x="6" y="137"/>
                  </a:cubicBezTo>
                  <a:cubicBezTo>
                    <a:pt x="6" y="112"/>
                    <a:pt x="0" y="90"/>
                    <a:pt x="5" y="65"/>
                  </a:cubicBezTo>
                  <a:cubicBezTo>
                    <a:pt x="8" y="51"/>
                    <a:pt x="19" y="0"/>
                    <a:pt x="39" y="21"/>
                  </a:cubicBezTo>
                  <a:cubicBezTo>
                    <a:pt x="49" y="32"/>
                    <a:pt x="51" y="58"/>
                    <a:pt x="53" y="72"/>
                  </a:cubicBezTo>
                  <a:cubicBezTo>
                    <a:pt x="57" y="94"/>
                    <a:pt x="60" y="117"/>
                    <a:pt x="63" y="139"/>
                  </a:cubicBezTo>
                  <a:cubicBezTo>
                    <a:pt x="64" y="151"/>
                    <a:pt x="65" y="162"/>
                    <a:pt x="66" y="173"/>
                  </a:cubicBezTo>
                  <a:cubicBezTo>
                    <a:pt x="4" y="173"/>
                    <a:pt x="4" y="173"/>
                    <a:pt x="4" y="173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13" name="Google Shape;419;p3">
              <a:extLst>
                <a:ext uri="{FF2B5EF4-FFF2-40B4-BE49-F238E27FC236}">
                  <a16:creationId xmlns:a16="http://schemas.microsoft.com/office/drawing/2014/main" id="{D1DC0F03-6707-756C-53C2-F98946F88BE0}"/>
                </a:ext>
              </a:extLst>
            </p:cNvPr>
            <p:cNvSpPr/>
            <p:nvPr/>
          </p:nvSpPr>
          <p:spPr>
            <a:xfrm>
              <a:off x="5514976" y="5729289"/>
              <a:ext cx="147638" cy="312738"/>
            </a:xfrm>
            <a:custGeom>
              <a:avLst/>
              <a:gdLst/>
              <a:ahLst/>
              <a:cxnLst/>
              <a:rect l="l" t="t" r="r" b="b"/>
              <a:pathLst>
                <a:path w="88" h="186" extrusionOk="0">
                  <a:moveTo>
                    <a:pt x="26" y="186"/>
                  </a:moveTo>
                  <a:cubicBezTo>
                    <a:pt x="24" y="173"/>
                    <a:pt x="22" y="159"/>
                    <a:pt x="16" y="146"/>
                  </a:cubicBezTo>
                  <a:cubicBezTo>
                    <a:pt x="0" y="111"/>
                    <a:pt x="16" y="78"/>
                    <a:pt x="27" y="43"/>
                  </a:cubicBezTo>
                  <a:cubicBezTo>
                    <a:pt x="30" y="35"/>
                    <a:pt x="34" y="8"/>
                    <a:pt x="44" y="5"/>
                  </a:cubicBezTo>
                  <a:cubicBezTo>
                    <a:pt x="60" y="0"/>
                    <a:pt x="62" y="27"/>
                    <a:pt x="64" y="37"/>
                  </a:cubicBezTo>
                  <a:cubicBezTo>
                    <a:pt x="67" y="60"/>
                    <a:pt x="66" y="84"/>
                    <a:pt x="72" y="106"/>
                  </a:cubicBezTo>
                  <a:cubicBezTo>
                    <a:pt x="76" y="126"/>
                    <a:pt x="83" y="145"/>
                    <a:pt x="86" y="165"/>
                  </a:cubicBezTo>
                  <a:cubicBezTo>
                    <a:pt x="87" y="172"/>
                    <a:pt x="87" y="179"/>
                    <a:pt x="88" y="186"/>
                  </a:cubicBezTo>
                  <a:cubicBezTo>
                    <a:pt x="26" y="186"/>
                    <a:pt x="26" y="186"/>
                    <a:pt x="26" y="186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14" name="Google Shape;420;p3">
              <a:extLst>
                <a:ext uri="{FF2B5EF4-FFF2-40B4-BE49-F238E27FC236}">
                  <a16:creationId xmlns:a16="http://schemas.microsoft.com/office/drawing/2014/main" id="{E4AB2A24-2BDA-1429-176B-65B874BBAC7E}"/>
                </a:ext>
              </a:extLst>
            </p:cNvPr>
            <p:cNvSpPr/>
            <p:nvPr/>
          </p:nvSpPr>
          <p:spPr>
            <a:xfrm>
              <a:off x="5719763" y="5791201"/>
              <a:ext cx="93663" cy="250825"/>
            </a:xfrm>
            <a:custGeom>
              <a:avLst/>
              <a:gdLst/>
              <a:ahLst/>
              <a:cxnLst/>
              <a:rect l="l" t="t" r="r" b="b"/>
              <a:pathLst>
                <a:path w="55" h="149" extrusionOk="0">
                  <a:moveTo>
                    <a:pt x="29" y="149"/>
                  </a:moveTo>
                  <a:cubicBezTo>
                    <a:pt x="27" y="131"/>
                    <a:pt x="24" y="112"/>
                    <a:pt x="21" y="93"/>
                  </a:cubicBezTo>
                  <a:cubicBezTo>
                    <a:pt x="18" y="75"/>
                    <a:pt x="13" y="56"/>
                    <a:pt x="10" y="38"/>
                  </a:cubicBezTo>
                  <a:cubicBezTo>
                    <a:pt x="8" y="28"/>
                    <a:pt x="0" y="8"/>
                    <a:pt x="6" y="0"/>
                  </a:cubicBezTo>
                  <a:cubicBezTo>
                    <a:pt x="29" y="33"/>
                    <a:pt x="38" y="85"/>
                    <a:pt x="49" y="123"/>
                  </a:cubicBezTo>
                  <a:cubicBezTo>
                    <a:pt x="51" y="132"/>
                    <a:pt x="53" y="141"/>
                    <a:pt x="55" y="149"/>
                  </a:cubicBezTo>
                  <a:cubicBezTo>
                    <a:pt x="29" y="149"/>
                    <a:pt x="29" y="149"/>
                    <a:pt x="29" y="149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15" name="Google Shape;421;p3">
              <a:extLst>
                <a:ext uri="{FF2B5EF4-FFF2-40B4-BE49-F238E27FC236}">
                  <a16:creationId xmlns:a16="http://schemas.microsoft.com/office/drawing/2014/main" id="{D36F1ED6-69D4-9C3C-3993-02F51DD99E9B}"/>
                </a:ext>
              </a:extLst>
            </p:cNvPr>
            <p:cNvSpPr/>
            <p:nvPr/>
          </p:nvSpPr>
          <p:spPr>
            <a:xfrm>
              <a:off x="4984751" y="5746751"/>
              <a:ext cx="211138" cy="295275"/>
            </a:xfrm>
            <a:custGeom>
              <a:avLst/>
              <a:gdLst/>
              <a:ahLst/>
              <a:cxnLst/>
              <a:rect l="l" t="t" r="r" b="b"/>
              <a:pathLst>
                <a:path w="126" h="176" extrusionOk="0">
                  <a:moveTo>
                    <a:pt x="126" y="176"/>
                  </a:moveTo>
                  <a:cubicBezTo>
                    <a:pt x="122" y="160"/>
                    <a:pt x="117" y="144"/>
                    <a:pt x="111" y="127"/>
                  </a:cubicBezTo>
                  <a:cubicBezTo>
                    <a:pt x="97" y="91"/>
                    <a:pt x="84" y="43"/>
                    <a:pt x="54" y="16"/>
                  </a:cubicBezTo>
                  <a:cubicBezTo>
                    <a:pt x="37" y="0"/>
                    <a:pt x="22" y="18"/>
                    <a:pt x="2" y="21"/>
                  </a:cubicBezTo>
                  <a:cubicBezTo>
                    <a:pt x="0" y="39"/>
                    <a:pt x="23" y="74"/>
                    <a:pt x="32" y="90"/>
                  </a:cubicBezTo>
                  <a:cubicBezTo>
                    <a:pt x="36" y="96"/>
                    <a:pt x="44" y="113"/>
                    <a:pt x="54" y="112"/>
                  </a:cubicBezTo>
                  <a:cubicBezTo>
                    <a:pt x="66" y="110"/>
                    <a:pt x="65" y="89"/>
                    <a:pt x="62" y="80"/>
                  </a:cubicBezTo>
                  <a:cubicBezTo>
                    <a:pt x="77" y="81"/>
                    <a:pt x="86" y="134"/>
                    <a:pt x="91" y="176"/>
                  </a:cubicBezTo>
                  <a:cubicBezTo>
                    <a:pt x="126" y="176"/>
                    <a:pt x="126" y="176"/>
                    <a:pt x="126" y="176"/>
                  </a:cubicBezTo>
                  <a:close/>
                </a:path>
              </a:pathLst>
            </a:custGeom>
            <a:solidFill>
              <a:srgbClr val="409DAD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16" name="Google Shape;422;p3">
              <a:extLst>
                <a:ext uri="{FF2B5EF4-FFF2-40B4-BE49-F238E27FC236}">
                  <a16:creationId xmlns:a16="http://schemas.microsoft.com/office/drawing/2014/main" id="{4BC77725-A4E3-BE89-1DA0-50A35FD982F9}"/>
                </a:ext>
              </a:extLst>
            </p:cNvPr>
            <p:cNvSpPr/>
            <p:nvPr/>
          </p:nvSpPr>
          <p:spPr>
            <a:xfrm>
              <a:off x="4849813" y="5788026"/>
              <a:ext cx="109538" cy="254000"/>
            </a:xfrm>
            <a:custGeom>
              <a:avLst/>
              <a:gdLst/>
              <a:ahLst/>
              <a:cxnLst/>
              <a:rect l="l" t="t" r="r" b="b"/>
              <a:pathLst>
                <a:path w="65" h="151" extrusionOk="0">
                  <a:moveTo>
                    <a:pt x="65" y="0"/>
                  </a:moveTo>
                  <a:cubicBezTo>
                    <a:pt x="42" y="45"/>
                    <a:pt x="40" y="100"/>
                    <a:pt x="39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6" y="114"/>
                    <a:pt x="21" y="82"/>
                    <a:pt x="35" y="48"/>
                  </a:cubicBezTo>
                  <a:cubicBezTo>
                    <a:pt x="42" y="32"/>
                    <a:pt x="48" y="15"/>
                    <a:pt x="56" y="0"/>
                  </a:cubicBezTo>
                  <a:cubicBezTo>
                    <a:pt x="65" y="0"/>
                    <a:pt x="65" y="0"/>
                    <a:pt x="65" y="0"/>
                  </a:cubicBezTo>
                  <a:close/>
                </a:path>
              </a:pathLst>
            </a:custGeom>
            <a:solidFill>
              <a:srgbClr val="409DAD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17" name="Google Shape;423;p3">
              <a:extLst>
                <a:ext uri="{FF2B5EF4-FFF2-40B4-BE49-F238E27FC236}">
                  <a16:creationId xmlns:a16="http://schemas.microsoft.com/office/drawing/2014/main" id="{12D2F9DB-36F4-822A-8591-3FAA3BC2CAB8}"/>
                </a:ext>
              </a:extLst>
            </p:cNvPr>
            <p:cNvSpPr/>
            <p:nvPr/>
          </p:nvSpPr>
          <p:spPr>
            <a:xfrm>
              <a:off x="4810126" y="5457826"/>
              <a:ext cx="330200" cy="328613"/>
            </a:xfrm>
            <a:custGeom>
              <a:avLst/>
              <a:gdLst/>
              <a:ahLst/>
              <a:cxnLst/>
              <a:rect l="l" t="t" r="r" b="b"/>
              <a:pathLst>
                <a:path w="196" h="196" extrusionOk="0">
                  <a:moveTo>
                    <a:pt x="187" y="63"/>
                  </a:moveTo>
                  <a:cubicBezTo>
                    <a:pt x="182" y="47"/>
                    <a:pt x="155" y="0"/>
                    <a:pt x="133" y="17"/>
                  </a:cubicBezTo>
                  <a:cubicBezTo>
                    <a:pt x="163" y="49"/>
                    <a:pt x="161" y="96"/>
                    <a:pt x="156" y="136"/>
                  </a:cubicBezTo>
                  <a:cubicBezTo>
                    <a:pt x="150" y="141"/>
                    <a:pt x="145" y="146"/>
                    <a:pt x="139" y="149"/>
                  </a:cubicBezTo>
                  <a:cubicBezTo>
                    <a:pt x="105" y="169"/>
                    <a:pt x="73" y="165"/>
                    <a:pt x="55" y="131"/>
                  </a:cubicBezTo>
                  <a:cubicBezTo>
                    <a:pt x="38" y="99"/>
                    <a:pt x="25" y="67"/>
                    <a:pt x="27" y="29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8" y="56"/>
                    <a:pt x="0" y="78"/>
                    <a:pt x="8" y="102"/>
                  </a:cubicBezTo>
                  <a:cubicBezTo>
                    <a:pt x="19" y="130"/>
                    <a:pt x="56" y="182"/>
                    <a:pt x="88" y="188"/>
                  </a:cubicBezTo>
                  <a:cubicBezTo>
                    <a:pt x="126" y="196"/>
                    <a:pt x="162" y="164"/>
                    <a:pt x="173" y="129"/>
                  </a:cubicBezTo>
                  <a:cubicBezTo>
                    <a:pt x="186" y="108"/>
                    <a:pt x="196" y="88"/>
                    <a:pt x="187" y="63"/>
                  </a:cubicBezTo>
                  <a:close/>
                </a:path>
              </a:pathLst>
            </a:custGeom>
            <a:solidFill>
              <a:srgbClr val="409DAD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18" name="Google Shape;424;p3">
              <a:extLst>
                <a:ext uri="{FF2B5EF4-FFF2-40B4-BE49-F238E27FC236}">
                  <a16:creationId xmlns:a16="http://schemas.microsoft.com/office/drawing/2014/main" id="{9CA15859-4D1B-2C37-F636-F0D9E039ECD0}"/>
                </a:ext>
              </a:extLst>
            </p:cNvPr>
            <p:cNvSpPr/>
            <p:nvPr/>
          </p:nvSpPr>
          <p:spPr>
            <a:xfrm>
              <a:off x="5033963" y="5295901"/>
              <a:ext cx="158750" cy="201613"/>
            </a:xfrm>
            <a:custGeom>
              <a:avLst/>
              <a:gdLst/>
              <a:ahLst/>
              <a:cxnLst/>
              <a:rect l="l" t="t" r="r" b="b"/>
              <a:pathLst>
                <a:path w="94" h="120" extrusionOk="0">
                  <a:moveTo>
                    <a:pt x="0" y="103"/>
                  </a:moveTo>
                  <a:cubicBezTo>
                    <a:pt x="17" y="91"/>
                    <a:pt x="31" y="77"/>
                    <a:pt x="45" y="62"/>
                  </a:cubicBezTo>
                  <a:cubicBezTo>
                    <a:pt x="55" y="50"/>
                    <a:pt x="62" y="19"/>
                    <a:pt x="74" y="12"/>
                  </a:cubicBezTo>
                  <a:cubicBezTo>
                    <a:pt x="94" y="0"/>
                    <a:pt x="84" y="40"/>
                    <a:pt x="80" y="49"/>
                  </a:cubicBezTo>
                  <a:cubicBezTo>
                    <a:pt x="73" y="65"/>
                    <a:pt x="61" y="80"/>
                    <a:pt x="50" y="94"/>
                  </a:cubicBezTo>
                  <a:cubicBezTo>
                    <a:pt x="37" y="109"/>
                    <a:pt x="26" y="120"/>
                    <a:pt x="5" y="109"/>
                  </a:cubicBezTo>
                  <a:cubicBezTo>
                    <a:pt x="0" y="103"/>
                    <a:pt x="0" y="103"/>
                    <a:pt x="0" y="103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19" name="Google Shape;425;p3">
              <a:extLst>
                <a:ext uri="{FF2B5EF4-FFF2-40B4-BE49-F238E27FC236}">
                  <a16:creationId xmlns:a16="http://schemas.microsoft.com/office/drawing/2014/main" id="{EBEA9B42-D403-C7B9-B8C0-156B5E1E62FB}"/>
                </a:ext>
              </a:extLst>
            </p:cNvPr>
            <p:cNvSpPr/>
            <p:nvPr/>
          </p:nvSpPr>
          <p:spPr>
            <a:xfrm>
              <a:off x="4695826" y="5313364"/>
              <a:ext cx="179388" cy="182563"/>
            </a:xfrm>
            <a:custGeom>
              <a:avLst/>
              <a:gdLst/>
              <a:ahLst/>
              <a:cxnLst/>
              <a:rect l="l" t="t" r="r" b="b"/>
              <a:pathLst>
                <a:path w="106" h="109" extrusionOk="0">
                  <a:moveTo>
                    <a:pt x="0" y="0"/>
                  </a:moveTo>
                  <a:cubicBezTo>
                    <a:pt x="7" y="25"/>
                    <a:pt x="20" y="45"/>
                    <a:pt x="36" y="65"/>
                  </a:cubicBezTo>
                  <a:cubicBezTo>
                    <a:pt x="50" y="81"/>
                    <a:pt x="74" y="92"/>
                    <a:pt x="85" y="109"/>
                  </a:cubicBezTo>
                  <a:cubicBezTo>
                    <a:pt x="92" y="104"/>
                    <a:pt x="99" y="100"/>
                    <a:pt x="106" y="95"/>
                  </a:cubicBezTo>
                  <a:cubicBezTo>
                    <a:pt x="98" y="76"/>
                    <a:pt x="67" y="70"/>
                    <a:pt x="52" y="58"/>
                  </a:cubicBezTo>
                  <a:cubicBezTo>
                    <a:pt x="33" y="42"/>
                    <a:pt x="20" y="23"/>
                    <a:pt x="9" y="3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C9DAE2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20" name="Google Shape;426;p3">
              <a:extLst>
                <a:ext uri="{FF2B5EF4-FFF2-40B4-BE49-F238E27FC236}">
                  <a16:creationId xmlns:a16="http://schemas.microsoft.com/office/drawing/2014/main" id="{93F79241-EB76-C96E-E567-ACA23941A979}"/>
                </a:ext>
              </a:extLst>
            </p:cNvPr>
            <p:cNvSpPr/>
            <p:nvPr/>
          </p:nvSpPr>
          <p:spPr>
            <a:xfrm>
              <a:off x="4603751" y="4179889"/>
              <a:ext cx="277813" cy="293688"/>
            </a:xfrm>
            <a:custGeom>
              <a:avLst/>
              <a:gdLst/>
              <a:ahLst/>
              <a:cxnLst/>
              <a:rect l="l" t="t" r="r" b="b"/>
              <a:pathLst>
                <a:path w="165" h="175" extrusionOk="0">
                  <a:moveTo>
                    <a:pt x="165" y="93"/>
                  </a:moveTo>
                  <a:cubicBezTo>
                    <a:pt x="153" y="52"/>
                    <a:pt x="128" y="0"/>
                    <a:pt x="76" y="18"/>
                  </a:cubicBezTo>
                  <a:cubicBezTo>
                    <a:pt x="30" y="34"/>
                    <a:pt x="0" y="72"/>
                    <a:pt x="31" y="117"/>
                  </a:cubicBezTo>
                  <a:cubicBezTo>
                    <a:pt x="45" y="136"/>
                    <a:pt x="62" y="145"/>
                    <a:pt x="84" y="153"/>
                  </a:cubicBezTo>
                  <a:cubicBezTo>
                    <a:pt x="73" y="175"/>
                    <a:pt x="109" y="172"/>
                    <a:pt x="121" y="169"/>
                  </a:cubicBezTo>
                  <a:cubicBezTo>
                    <a:pt x="137" y="165"/>
                    <a:pt x="156" y="160"/>
                    <a:pt x="160" y="143"/>
                  </a:cubicBezTo>
                  <a:cubicBezTo>
                    <a:pt x="163" y="133"/>
                    <a:pt x="165" y="122"/>
                    <a:pt x="162" y="112"/>
                  </a:cubicBezTo>
                  <a:cubicBezTo>
                    <a:pt x="162" y="111"/>
                    <a:pt x="163" y="113"/>
                    <a:pt x="163" y="113"/>
                  </a:cubicBezTo>
                  <a:cubicBezTo>
                    <a:pt x="165" y="93"/>
                    <a:pt x="165" y="93"/>
                    <a:pt x="165" y="93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21" name="Google Shape;427;p3">
              <a:extLst>
                <a:ext uri="{FF2B5EF4-FFF2-40B4-BE49-F238E27FC236}">
                  <a16:creationId xmlns:a16="http://schemas.microsoft.com/office/drawing/2014/main" id="{2F12BDC0-E658-C1AC-978B-2C3CEF07ECEE}"/>
                </a:ext>
              </a:extLst>
            </p:cNvPr>
            <p:cNvSpPr/>
            <p:nvPr/>
          </p:nvSpPr>
          <p:spPr>
            <a:xfrm>
              <a:off x="4970463" y="4175126"/>
              <a:ext cx="241300" cy="271463"/>
            </a:xfrm>
            <a:custGeom>
              <a:avLst/>
              <a:gdLst/>
              <a:ahLst/>
              <a:cxnLst/>
              <a:rect l="l" t="t" r="r" b="b"/>
              <a:pathLst>
                <a:path w="143" h="162" extrusionOk="0">
                  <a:moveTo>
                    <a:pt x="143" y="95"/>
                  </a:moveTo>
                  <a:cubicBezTo>
                    <a:pt x="142" y="63"/>
                    <a:pt x="137" y="36"/>
                    <a:pt x="105" y="22"/>
                  </a:cubicBezTo>
                  <a:cubicBezTo>
                    <a:pt x="83" y="12"/>
                    <a:pt x="40" y="0"/>
                    <a:pt x="20" y="21"/>
                  </a:cubicBezTo>
                  <a:cubicBezTo>
                    <a:pt x="0" y="42"/>
                    <a:pt x="5" y="88"/>
                    <a:pt x="9" y="114"/>
                  </a:cubicBezTo>
                  <a:cubicBezTo>
                    <a:pt x="14" y="146"/>
                    <a:pt x="32" y="162"/>
                    <a:pt x="64" y="160"/>
                  </a:cubicBezTo>
                  <a:cubicBezTo>
                    <a:pt x="100" y="158"/>
                    <a:pt x="126" y="139"/>
                    <a:pt x="143" y="109"/>
                  </a:cubicBezTo>
                  <a:cubicBezTo>
                    <a:pt x="143" y="95"/>
                    <a:pt x="143" y="95"/>
                    <a:pt x="143" y="95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22" name="Google Shape;428;p3">
              <a:extLst>
                <a:ext uri="{FF2B5EF4-FFF2-40B4-BE49-F238E27FC236}">
                  <a16:creationId xmlns:a16="http://schemas.microsoft.com/office/drawing/2014/main" id="{B53EE789-3C50-347D-25E5-9BF5C8C6AC02}"/>
                </a:ext>
              </a:extLst>
            </p:cNvPr>
            <p:cNvSpPr/>
            <p:nvPr/>
          </p:nvSpPr>
          <p:spPr>
            <a:xfrm>
              <a:off x="4835526" y="4787901"/>
              <a:ext cx="307975" cy="158750"/>
            </a:xfrm>
            <a:custGeom>
              <a:avLst/>
              <a:gdLst/>
              <a:ahLst/>
              <a:cxnLst/>
              <a:rect l="l" t="t" r="r" b="b"/>
              <a:pathLst>
                <a:path w="183" h="94" extrusionOk="0">
                  <a:moveTo>
                    <a:pt x="6" y="39"/>
                  </a:moveTo>
                  <a:cubicBezTo>
                    <a:pt x="30" y="52"/>
                    <a:pt x="52" y="54"/>
                    <a:pt x="79" y="47"/>
                  </a:cubicBezTo>
                  <a:cubicBezTo>
                    <a:pt x="104" y="40"/>
                    <a:pt x="128" y="36"/>
                    <a:pt x="147" y="18"/>
                  </a:cubicBezTo>
                  <a:cubicBezTo>
                    <a:pt x="153" y="12"/>
                    <a:pt x="163" y="0"/>
                    <a:pt x="172" y="3"/>
                  </a:cubicBezTo>
                  <a:cubicBezTo>
                    <a:pt x="183" y="6"/>
                    <a:pt x="183" y="21"/>
                    <a:pt x="181" y="29"/>
                  </a:cubicBezTo>
                  <a:cubicBezTo>
                    <a:pt x="172" y="71"/>
                    <a:pt x="114" y="88"/>
                    <a:pt x="78" y="91"/>
                  </a:cubicBezTo>
                  <a:cubicBezTo>
                    <a:pt x="39" y="94"/>
                    <a:pt x="10" y="85"/>
                    <a:pt x="0" y="46"/>
                  </a:cubicBezTo>
                  <a:cubicBezTo>
                    <a:pt x="6" y="39"/>
                    <a:pt x="6" y="39"/>
                    <a:pt x="6" y="39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23" name="Google Shape;429;p3">
              <a:extLst>
                <a:ext uri="{FF2B5EF4-FFF2-40B4-BE49-F238E27FC236}">
                  <a16:creationId xmlns:a16="http://schemas.microsoft.com/office/drawing/2014/main" id="{50DF2AED-ED94-2D84-2F60-6069283AD030}"/>
                </a:ext>
              </a:extLst>
            </p:cNvPr>
            <p:cNvSpPr/>
            <p:nvPr/>
          </p:nvSpPr>
          <p:spPr>
            <a:xfrm>
              <a:off x="5207001" y="4503739"/>
              <a:ext cx="160338" cy="125413"/>
            </a:xfrm>
            <a:custGeom>
              <a:avLst/>
              <a:gdLst/>
              <a:ahLst/>
              <a:cxnLst/>
              <a:rect l="l" t="t" r="r" b="b"/>
              <a:pathLst>
                <a:path w="96" h="74" extrusionOk="0">
                  <a:moveTo>
                    <a:pt x="72" y="11"/>
                  </a:moveTo>
                  <a:cubicBezTo>
                    <a:pt x="60" y="2"/>
                    <a:pt x="43" y="0"/>
                    <a:pt x="30" y="6"/>
                  </a:cubicBezTo>
                  <a:cubicBezTo>
                    <a:pt x="20" y="11"/>
                    <a:pt x="0" y="33"/>
                    <a:pt x="15" y="43"/>
                  </a:cubicBezTo>
                  <a:cubicBezTo>
                    <a:pt x="27" y="50"/>
                    <a:pt x="43" y="32"/>
                    <a:pt x="58" y="43"/>
                  </a:cubicBezTo>
                  <a:cubicBezTo>
                    <a:pt x="67" y="50"/>
                    <a:pt x="75" y="74"/>
                    <a:pt x="89" y="56"/>
                  </a:cubicBezTo>
                  <a:cubicBezTo>
                    <a:pt x="96" y="46"/>
                    <a:pt x="89" y="22"/>
                    <a:pt x="77" y="18"/>
                  </a:cubicBezTo>
                  <a:cubicBezTo>
                    <a:pt x="72" y="11"/>
                    <a:pt x="72" y="11"/>
                    <a:pt x="72" y="11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24" name="Google Shape;430;p3">
              <a:extLst>
                <a:ext uri="{FF2B5EF4-FFF2-40B4-BE49-F238E27FC236}">
                  <a16:creationId xmlns:a16="http://schemas.microsoft.com/office/drawing/2014/main" id="{E8A0698C-9B02-A17C-F86A-55E7F13BAF46}"/>
                </a:ext>
              </a:extLst>
            </p:cNvPr>
            <p:cNvSpPr/>
            <p:nvPr/>
          </p:nvSpPr>
          <p:spPr>
            <a:xfrm>
              <a:off x="4668838" y="4279901"/>
              <a:ext cx="204788" cy="155575"/>
            </a:xfrm>
            <a:custGeom>
              <a:avLst/>
              <a:gdLst/>
              <a:ahLst/>
              <a:cxnLst/>
              <a:rect l="l" t="t" r="r" b="b"/>
              <a:pathLst>
                <a:path w="121" h="92" extrusionOk="0">
                  <a:moveTo>
                    <a:pt x="117" y="32"/>
                  </a:moveTo>
                  <a:cubicBezTo>
                    <a:pt x="95" y="0"/>
                    <a:pt x="40" y="12"/>
                    <a:pt x="16" y="37"/>
                  </a:cubicBezTo>
                  <a:cubicBezTo>
                    <a:pt x="2" y="51"/>
                    <a:pt x="0" y="71"/>
                    <a:pt x="19" y="81"/>
                  </a:cubicBezTo>
                  <a:cubicBezTo>
                    <a:pt x="37" y="92"/>
                    <a:pt x="60" y="88"/>
                    <a:pt x="78" y="84"/>
                  </a:cubicBezTo>
                  <a:cubicBezTo>
                    <a:pt x="100" y="79"/>
                    <a:pt x="119" y="70"/>
                    <a:pt x="121" y="45"/>
                  </a:cubicBezTo>
                  <a:cubicBezTo>
                    <a:pt x="121" y="47"/>
                    <a:pt x="121" y="48"/>
                    <a:pt x="121" y="49"/>
                  </a:cubicBezTo>
                  <a:cubicBezTo>
                    <a:pt x="117" y="32"/>
                    <a:pt x="117" y="32"/>
                    <a:pt x="117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25" name="Google Shape;431;p3">
              <a:extLst>
                <a:ext uri="{FF2B5EF4-FFF2-40B4-BE49-F238E27FC236}">
                  <a16:creationId xmlns:a16="http://schemas.microsoft.com/office/drawing/2014/main" id="{7CCFA203-0CFE-1CC3-2C7F-F9A91F424616}"/>
                </a:ext>
              </a:extLst>
            </p:cNvPr>
            <p:cNvSpPr/>
            <p:nvPr/>
          </p:nvSpPr>
          <p:spPr>
            <a:xfrm>
              <a:off x="4975226" y="4268789"/>
              <a:ext cx="214313" cy="163513"/>
            </a:xfrm>
            <a:custGeom>
              <a:avLst/>
              <a:gdLst/>
              <a:ahLst/>
              <a:cxnLst/>
              <a:rect l="l" t="t" r="r" b="b"/>
              <a:pathLst>
                <a:path w="127" h="97" extrusionOk="0">
                  <a:moveTo>
                    <a:pt x="113" y="27"/>
                  </a:moveTo>
                  <a:cubicBezTo>
                    <a:pt x="87" y="6"/>
                    <a:pt x="18" y="0"/>
                    <a:pt x="10" y="44"/>
                  </a:cubicBezTo>
                  <a:cubicBezTo>
                    <a:pt x="0" y="97"/>
                    <a:pt x="61" y="94"/>
                    <a:pt x="93" y="79"/>
                  </a:cubicBezTo>
                  <a:cubicBezTo>
                    <a:pt x="114" y="69"/>
                    <a:pt x="127" y="56"/>
                    <a:pt x="118" y="32"/>
                  </a:cubicBezTo>
                  <a:cubicBezTo>
                    <a:pt x="113" y="27"/>
                    <a:pt x="113" y="27"/>
                    <a:pt x="113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26" name="Google Shape;432;p3">
              <a:extLst>
                <a:ext uri="{FF2B5EF4-FFF2-40B4-BE49-F238E27FC236}">
                  <a16:creationId xmlns:a16="http://schemas.microsoft.com/office/drawing/2014/main" id="{4124AA7B-021F-0727-4705-D4F71DAB8257}"/>
                </a:ext>
              </a:extLst>
            </p:cNvPr>
            <p:cNvSpPr/>
            <p:nvPr/>
          </p:nvSpPr>
          <p:spPr>
            <a:xfrm>
              <a:off x="4640263" y="4616451"/>
              <a:ext cx="665163" cy="187325"/>
            </a:xfrm>
            <a:custGeom>
              <a:avLst/>
              <a:gdLst/>
              <a:ahLst/>
              <a:cxnLst/>
              <a:rect l="l" t="t" r="r" b="b"/>
              <a:pathLst>
                <a:path w="395" h="111" extrusionOk="0">
                  <a:moveTo>
                    <a:pt x="362" y="26"/>
                  </a:moveTo>
                  <a:cubicBezTo>
                    <a:pt x="366" y="20"/>
                    <a:pt x="375" y="0"/>
                    <a:pt x="385" y="3"/>
                  </a:cubicBezTo>
                  <a:cubicBezTo>
                    <a:pt x="395" y="6"/>
                    <a:pt x="394" y="28"/>
                    <a:pt x="392" y="36"/>
                  </a:cubicBezTo>
                  <a:cubicBezTo>
                    <a:pt x="385" y="73"/>
                    <a:pt x="349" y="66"/>
                    <a:pt x="320" y="61"/>
                  </a:cubicBezTo>
                  <a:cubicBezTo>
                    <a:pt x="293" y="56"/>
                    <a:pt x="263" y="53"/>
                    <a:pt x="236" y="63"/>
                  </a:cubicBezTo>
                  <a:cubicBezTo>
                    <a:pt x="211" y="73"/>
                    <a:pt x="192" y="98"/>
                    <a:pt x="165" y="101"/>
                  </a:cubicBezTo>
                  <a:cubicBezTo>
                    <a:pt x="135" y="105"/>
                    <a:pt x="107" y="93"/>
                    <a:pt x="77" y="99"/>
                  </a:cubicBezTo>
                  <a:cubicBezTo>
                    <a:pt x="65" y="101"/>
                    <a:pt x="0" y="111"/>
                    <a:pt x="7" y="82"/>
                  </a:cubicBezTo>
                  <a:cubicBezTo>
                    <a:pt x="13" y="60"/>
                    <a:pt x="68" y="80"/>
                    <a:pt x="82" y="82"/>
                  </a:cubicBezTo>
                  <a:cubicBezTo>
                    <a:pt x="110" y="84"/>
                    <a:pt x="139" y="73"/>
                    <a:pt x="167" y="72"/>
                  </a:cubicBezTo>
                  <a:cubicBezTo>
                    <a:pt x="182" y="71"/>
                    <a:pt x="196" y="71"/>
                    <a:pt x="210" y="66"/>
                  </a:cubicBezTo>
                  <a:cubicBezTo>
                    <a:pt x="221" y="61"/>
                    <a:pt x="230" y="52"/>
                    <a:pt x="241" y="46"/>
                  </a:cubicBezTo>
                  <a:cubicBezTo>
                    <a:pt x="269" y="32"/>
                    <a:pt x="302" y="38"/>
                    <a:pt x="332" y="34"/>
                  </a:cubicBezTo>
                  <a:cubicBezTo>
                    <a:pt x="339" y="34"/>
                    <a:pt x="346" y="32"/>
                    <a:pt x="352" y="31"/>
                  </a:cubicBezTo>
                  <a:cubicBezTo>
                    <a:pt x="362" y="26"/>
                    <a:pt x="362" y="26"/>
                    <a:pt x="362" y="26"/>
                  </a:cubicBezTo>
                  <a:close/>
                </a:path>
              </a:pathLst>
            </a:custGeom>
            <a:solidFill>
              <a:srgbClr val="E8BFA4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27" name="Google Shape;433;p3">
              <a:extLst>
                <a:ext uri="{FF2B5EF4-FFF2-40B4-BE49-F238E27FC236}">
                  <a16:creationId xmlns:a16="http://schemas.microsoft.com/office/drawing/2014/main" id="{25F0DA0F-AC20-4C89-FD31-EE459389D929}"/>
                </a:ext>
              </a:extLst>
            </p:cNvPr>
            <p:cNvSpPr/>
            <p:nvPr/>
          </p:nvSpPr>
          <p:spPr>
            <a:xfrm>
              <a:off x="4251325" y="4497388"/>
              <a:ext cx="103188" cy="196850"/>
            </a:xfrm>
            <a:custGeom>
              <a:avLst/>
              <a:gdLst/>
              <a:ahLst/>
              <a:cxnLst/>
              <a:rect l="l" t="t" r="r" b="b"/>
              <a:pathLst>
                <a:path w="61" h="117" extrusionOk="0">
                  <a:moveTo>
                    <a:pt x="56" y="59"/>
                  </a:moveTo>
                  <a:cubicBezTo>
                    <a:pt x="60" y="48"/>
                    <a:pt x="61" y="33"/>
                    <a:pt x="52" y="24"/>
                  </a:cubicBezTo>
                  <a:cubicBezTo>
                    <a:pt x="41" y="12"/>
                    <a:pt x="1" y="0"/>
                    <a:pt x="0" y="27"/>
                  </a:cubicBezTo>
                  <a:cubicBezTo>
                    <a:pt x="0" y="27"/>
                    <a:pt x="1" y="27"/>
                    <a:pt x="1" y="27"/>
                  </a:cubicBezTo>
                  <a:cubicBezTo>
                    <a:pt x="14" y="21"/>
                    <a:pt x="37" y="21"/>
                    <a:pt x="39" y="41"/>
                  </a:cubicBezTo>
                  <a:cubicBezTo>
                    <a:pt x="39" y="52"/>
                    <a:pt x="32" y="64"/>
                    <a:pt x="30" y="74"/>
                  </a:cubicBezTo>
                  <a:cubicBezTo>
                    <a:pt x="26" y="90"/>
                    <a:pt x="35" y="117"/>
                    <a:pt x="55" y="115"/>
                  </a:cubicBezTo>
                  <a:cubicBezTo>
                    <a:pt x="58" y="114"/>
                    <a:pt x="60" y="111"/>
                    <a:pt x="58" y="108"/>
                  </a:cubicBezTo>
                  <a:cubicBezTo>
                    <a:pt x="49" y="98"/>
                    <a:pt x="42" y="91"/>
                    <a:pt x="48" y="77"/>
                  </a:cubicBezTo>
                  <a:cubicBezTo>
                    <a:pt x="51" y="71"/>
                    <a:pt x="54" y="66"/>
                    <a:pt x="56" y="5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28" name="Google Shape;434;p3">
              <a:extLst>
                <a:ext uri="{FF2B5EF4-FFF2-40B4-BE49-F238E27FC236}">
                  <a16:creationId xmlns:a16="http://schemas.microsoft.com/office/drawing/2014/main" id="{A6448EDD-94A3-01C2-EA85-691087D365E1}"/>
                </a:ext>
              </a:extLst>
            </p:cNvPr>
            <p:cNvSpPr/>
            <p:nvPr/>
          </p:nvSpPr>
          <p:spPr>
            <a:xfrm>
              <a:off x="4633913" y="3925888"/>
              <a:ext cx="741363" cy="531813"/>
            </a:xfrm>
            <a:custGeom>
              <a:avLst/>
              <a:gdLst/>
              <a:ahLst/>
              <a:cxnLst/>
              <a:rect l="l" t="t" r="r" b="b"/>
              <a:pathLst>
                <a:path w="440" h="316" extrusionOk="0">
                  <a:moveTo>
                    <a:pt x="434" y="314"/>
                  </a:moveTo>
                  <a:cubicBezTo>
                    <a:pt x="434" y="316"/>
                    <a:pt x="437" y="316"/>
                    <a:pt x="437" y="314"/>
                  </a:cubicBezTo>
                  <a:cubicBezTo>
                    <a:pt x="440" y="299"/>
                    <a:pt x="437" y="284"/>
                    <a:pt x="436" y="269"/>
                  </a:cubicBezTo>
                  <a:cubicBezTo>
                    <a:pt x="435" y="251"/>
                    <a:pt x="435" y="233"/>
                    <a:pt x="434" y="216"/>
                  </a:cubicBezTo>
                  <a:cubicBezTo>
                    <a:pt x="433" y="179"/>
                    <a:pt x="430" y="142"/>
                    <a:pt x="422" y="106"/>
                  </a:cubicBezTo>
                  <a:cubicBezTo>
                    <a:pt x="412" y="57"/>
                    <a:pt x="391" y="15"/>
                    <a:pt x="341" y="0"/>
                  </a:cubicBezTo>
                  <a:cubicBezTo>
                    <a:pt x="339" y="0"/>
                    <a:pt x="338" y="0"/>
                    <a:pt x="337" y="0"/>
                  </a:cubicBezTo>
                  <a:cubicBezTo>
                    <a:pt x="335" y="0"/>
                    <a:pt x="332" y="0"/>
                    <a:pt x="330" y="1"/>
                  </a:cubicBezTo>
                  <a:cubicBezTo>
                    <a:pt x="305" y="14"/>
                    <a:pt x="282" y="30"/>
                    <a:pt x="254" y="37"/>
                  </a:cubicBezTo>
                  <a:cubicBezTo>
                    <a:pt x="224" y="45"/>
                    <a:pt x="192" y="49"/>
                    <a:pt x="160" y="50"/>
                  </a:cubicBezTo>
                  <a:cubicBezTo>
                    <a:pt x="130" y="51"/>
                    <a:pt x="101" y="45"/>
                    <a:pt x="72" y="39"/>
                  </a:cubicBezTo>
                  <a:cubicBezTo>
                    <a:pt x="48" y="35"/>
                    <a:pt x="24" y="31"/>
                    <a:pt x="1" y="40"/>
                  </a:cubicBezTo>
                  <a:cubicBezTo>
                    <a:pt x="0" y="40"/>
                    <a:pt x="0" y="41"/>
                    <a:pt x="1" y="41"/>
                  </a:cubicBezTo>
                  <a:cubicBezTo>
                    <a:pt x="32" y="41"/>
                    <a:pt x="61" y="52"/>
                    <a:pt x="91" y="60"/>
                  </a:cubicBezTo>
                  <a:cubicBezTo>
                    <a:pt x="119" y="67"/>
                    <a:pt x="149" y="68"/>
                    <a:pt x="178" y="68"/>
                  </a:cubicBezTo>
                  <a:cubicBezTo>
                    <a:pt x="208" y="67"/>
                    <a:pt x="239" y="62"/>
                    <a:pt x="268" y="55"/>
                  </a:cubicBezTo>
                  <a:cubicBezTo>
                    <a:pt x="294" y="48"/>
                    <a:pt x="318" y="33"/>
                    <a:pt x="342" y="22"/>
                  </a:cubicBezTo>
                  <a:cubicBezTo>
                    <a:pt x="343" y="21"/>
                    <a:pt x="344" y="20"/>
                    <a:pt x="345" y="20"/>
                  </a:cubicBezTo>
                  <a:cubicBezTo>
                    <a:pt x="383" y="47"/>
                    <a:pt x="403" y="78"/>
                    <a:pt x="416" y="126"/>
                  </a:cubicBezTo>
                  <a:cubicBezTo>
                    <a:pt x="424" y="158"/>
                    <a:pt x="425" y="192"/>
                    <a:pt x="426" y="225"/>
                  </a:cubicBezTo>
                  <a:cubicBezTo>
                    <a:pt x="427" y="253"/>
                    <a:pt x="424" y="287"/>
                    <a:pt x="434" y="31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29" name="Google Shape;435;p3">
              <a:extLst>
                <a:ext uri="{FF2B5EF4-FFF2-40B4-BE49-F238E27FC236}">
                  <a16:creationId xmlns:a16="http://schemas.microsoft.com/office/drawing/2014/main" id="{A07FE9CD-98F2-5A15-0F87-F1B701661415}"/>
                </a:ext>
              </a:extLst>
            </p:cNvPr>
            <p:cNvSpPr/>
            <p:nvPr/>
          </p:nvSpPr>
          <p:spPr>
            <a:xfrm>
              <a:off x="5359400" y="4175126"/>
              <a:ext cx="265113" cy="579438"/>
            </a:xfrm>
            <a:custGeom>
              <a:avLst/>
              <a:gdLst/>
              <a:ahLst/>
              <a:cxnLst/>
              <a:rect l="l" t="t" r="r" b="b"/>
              <a:pathLst>
                <a:path w="157" h="345" extrusionOk="0">
                  <a:moveTo>
                    <a:pt x="42" y="108"/>
                  </a:moveTo>
                  <a:cubicBezTo>
                    <a:pt x="42" y="92"/>
                    <a:pt x="44" y="76"/>
                    <a:pt x="44" y="61"/>
                  </a:cubicBezTo>
                  <a:cubicBezTo>
                    <a:pt x="44" y="60"/>
                    <a:pt x="43" y="60"/>
                    <a:pt x="43" y="60"/>
                  </a:cubicBezTo>
                  <a:cubicBezTo>
                    <a:pt x="40" y="69"/>
                    <a:pt x="37" y="77"/>
                    <a:pt x="35" y="86"/>
                  </a:cubicBezTo>
                  <a:cubicBezTo>
                    <a:pt x="35" y="85"/>
                    <a:pt x="35" y="85"/>
                    <a:pt x="35" y="84"/>
                  </a:cubicBezTo>
                  <a:cubicBezTo>
                    <a:pt x="33" y="56"/>
                    <a:pt x="30" y="28"/>
                    <a:pt x="29" y="0"/>
                  </a:cubicBezTo>
                  <a:cubicBezTo>
                    <a:pt x="29" y="0"/>
                    <a:pt x="28" y="0"/>
                    <a:pt x="28" y="0"/>
                  </a:cubicBezTo>
                  <a:cubicBezTo>
                    <a:pt x="27" y="28"/>
                    <a:pt x="25" y="56"/>
                    <a:pt x="25" y="84"/>
                  </a:cubicBezTo>
                  <a:cubicBezTo>
                    <a:pt x="25" y="102"/>
                    <a:pt x="22" y="123"/>
                    <a:pt x="27" y="141"/>
                  </a:cubicBezTo>
                  <a:cubicBezTo>
                    <a:pt x="28" y="144"/>
                    <a:pt x="28" y="147"/>
                    <a:pt x="30" y="150"/>
                  </a:cubicBezTo>
                  <a:cubicBezTo>
                    <a:pt x="29" y="151"/>
                    <a:pt x="29" y="151"/>
                    <a:pt x="29" y="152"/>
                  </a:cubicBezTo>
                  <a:cubicBezTo>
                    <a:pt x="27" y="157"/>
                    <a:pt x="26" y="167"/>
                    <a:pt x="21" y="169"/>
                  </a:cubicBezTo>
                  <a:cubicBezTo>
                    <a:pt x="16" y="170"/>
                    <a:pt x="10" y="169"/>
                    <a:pt x="6" y="171"/>
                  </a:cubicBezTo>
                  <a:cubicBezTo>
                    <a:pt x="6" y="171"/>
                    <a:pt x="6" y="171"/>
                    <a:pt x="6" y="171"/>
                  </a:cubicBezTo>
                  <a:cubicBezTo>
                    <a:pt x="2" y="172"/>
                    <a:pt x="0" y="178"/>
                    <a:pt x="4" y="181"/>
                  </a:cubicBezTo>
                  <a:cubicBezTo>
                    <a:pt x="5" y="182"/>
                    <a:pt x="6" y="183"/>
                    <a:pt x="7" y="183"/>
                  </a:cubicBezTo>
                  <a:cubicBezTo>
                    <a:pt x="9" y="183"/>
                    <a:pt x="11" y="183"/>
                    <a:pt x="13" y="183"/>
                  </a:cubicBezTo>
                  <a:cubicBezTo>
                    <a:pt x="18" y="184"/>
                    <a:pt x="22" y="183"/>
                    <a:pt x="26" y="182"/>
                  </a:cubicBezTo>
                  <a:cubicBezTo>
                    <a:pt x="36" y="179"/>
                    <a:pt x="42" y="167"/>
                    <a:pt x="41" y="157"/>
                  </a:cubicBezTo>
                  <a:cubicBezTo>
                    <a:pt x="52" y="145"/>
                    <a:pt x="64" y="140"/>
                    <a:pt x="84" y="142"/>
                  </a:cubicBezTo>
                  <a:cubicBezTo>
                    <a:pt x="111" y="146"/>
                    <a:pt x="124" y="168"/>
                    <a:pt x="130" y="193"/>
                  </a:cubicBezTo>
                  <a:cubicBezTo>
                    <a:pt x="144" y="244"/>
                    <a:pt x="120" y="298"/>
                    <a:pt x="96" y="343"/>
                  </a:cubicBezTo>
                  <a:cubicBezTo>
                    <a:pt x="96" y="344"/>
                    <a:pt x="97" y="345"/>
                    <a:pt x="98" y="345"/>
                  </a:cubicBezTo>
                  <a:cubicBezTo>
                    <a:pt x="129" y="336"/>
                    <a:pt x="141" y="289"/>
                    <a:pt x="148" y="261"/>
                  </a:cubicBezTo>
                  <a:cubicBezTo>
                    <a:pt x="157" y="225"/>
                    <a:pt x="156" y="187"/>
                    <a:pt x="137" y="154"/>
                  </a:cubicBezTo>
                  <a:cubicBezTo>
                    <a:pt x="123" y="130"/>
                    <a:pt x="94" y="121"/>
                    <a:pt x="67" y="124"/>
                  </a:cubicBezTo>
                  <a:cubicBezTo>
                    <a:pt x="58" y="125"/>
                    <a:pt x="50" y="129"/>
                    <a:pt x="43" y="133"/>
                  </a:cubicBezTo>
                  <a:cubicBezTo>
                    <a:pt x="42" y="125"/>
                    <a:pt x="41" y="116"/>
                    <a:pt x="42" y="10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30" name="Google Shape;436;p3">
              <a:extLst>
                <a:ext uri="{FF2B5EF4-FFF2-40B4-BE49-F238E27FC236}">
                  <a16:creationId xmlns:a16="http://schemas.microsoft.com/office/drawing/2014/main" id="{CBF23A19-E3D8-62A2-2326-040D91FD81F2}"/>
                </a:ext>
              </a:extLst>
            </p:cNvPr>
            <p:cNvSpPr/>
            <p:nvPr/>
          </p:nvSpPr>
          <p:spPr>
            <a:xfrm>
              <a:off x="5449888" y="4467226"/>
              <a:ext cx="101600" cy="207963"/>
            </a:xfrm>
            <a:custGeom>
              <a:avLst/>
              <a:gdLst/>
              <a:ahLst/>
              <a:cxnLst/>
              <a:rect l="l" t="t" r="r" b="b"/>
              <a:pathLst>
                <a:path w="60" h="124" extrusionOk="0">
                  <a:moveTo>
                    <a:pt x="60" y="24"/>
                  </a:moveTo>
                  <a:cubicBezTo>
                    <a:pt x="60" y="24"/>
                    <a:pt x="60" y="24"/>
                    <a:pt x="60" y="23"/>
                  </a:cubicBezTo>
                  <a:cubicBezTo>
                    <a:pt x="46" y="0"/>
                    <a:pt x="9" y="4"/>
                    <a:pt x="3" y="32"/>
                  </a:cubicBezTo>
                  <a:cubicBezTo>
                    <a:pt x="0" y="45"/>
                    <a:pt x="6" y="58"/>
                    <a:pt x="11" y="69"/>
                  </a:cubicBezTo>
                  <a:cubicBezTo>
                    <a:pt x="14" y="76"/>
                    <a:pt x="19" y="84"/>
                    <a:pt x="17" y="91"/>
                  </a:cubicBezTo>
                  <a:cubicBezTo>
                    <a:pt x="16" y="99"/>
                    <a:pt x="7" y="105"/>
                    <a:pt x="5" y="113"/>
                  </a:cubicBezTo>
                  <a:cubicBezTo>
                    <a:pt x="3" y="119"/>
                    <a:pt x="9" y="124"/>
                    <a:pt x="14" y="122"/>
                  </a:cubicBezTo>
                  <a:cubicBezTo>
                    <a:pt x="36" y="117"/>
                    <a:pt x="43" y="94"/>
                    <a:pt x="36" y="74"/>
                  </a:cubicBezTo>
                  <a:cubicBezTo>
                    <a:pt x="33" y="65"/>
                    <a:pt x="27" y="56"/>
                    <a:pt x="23" y="47"/>
                  </a:cubicBezTo>
                  <a:cubicBezTo>
                    <a:pt x="20" y="41"/>
                    <a:pt x="18" y="35"/>
                    <a:pt x="21" y="28"/>
                  </a:cubicBezTo>
                  <a:cubicBezTo>
                    <a:pt x="29" y="13"/>
                    <a:pt x="48" y="21"/>
                    <a:pt x="60" y="2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31" name="Google Shape;437;p3">
              <a:extLst>
                <a:ext uri="{FF2B5EF4-FFF2-40B4-BE49-F238E27FC236}">
                  <a16:creationId xmlns:a16="http://schemas.microsoft.com/office/drawing/2014/main" id="{5B1AE0F6-5EDD-15F3-A0E8-ECC5C9D19B9B}"/>
                </a:ext>
              </a:extLst>
            </p:cNvPr>
            <p:cNvSpPr/>
            <p:nvPr/>
          </p:nvSpPr>
          <p:spPr>
            <a:xfrm>
              <a:off x="4078288" y="5645151"/>
              <a:ext cx="153988" cy="396875"/>
            </a:xfrm>
            <a:custGeom>
              <a:avLst/>
              <a:gdLst/>
              <a:ahLst/>
              <a:cxnLst/>
              <a:rect l="l" t="t" r="r" b="b"/>
              <a:pathLst>
                <a:path w="92" h="236" extrusionOk="0">
                  <a:moveTo>
                    <a:pt x="91" y="0"/>
                  </a:moveTo>
                  <a:cubicBezTo>
                    <a:pt x="78" y="10"/>
                    <a:pt x="73" y="28"/>
                    <a:pt x="67" y="42"/>
                  </a:cubicBezTo>
                  <a:cubicBezTo>
                    <a:pt x="54" y="67"/>
                    <a:pt x="43" y="90"/>
                    <a:pt x="35" y="116"/>
                  </a:cubicBezTo>
                  <a:cubicBezTo>
                    <a:pt x="25" y="146"/>
                    <a:pt x="17" y="176"/>
                    <a:pt x="9" y="206"/>
                  </a:cubicBezTo>
                  <a:cubicBezTo>
                    <a:pt x="7" y="216"/>
                    <a:pt x="3" y="226"/>
                    <a:pt x="0" y="236"/>
                  </a:cubicBezTo>
                  <a:cubicBezTo>
                    <a:pt x="20" y="236"/>
                    <a:pt x="20" y="236"/>
                    <a:pt x="20" y="236"/>
                  </a:cubicBezTo>
                  <a:cubicBezTo>
                    <a:pt x="21" y="231"/>
                    <a:pt x="22" y="225"/>
                    <a:pt x="24" y="219"/>
                  </a:cubicBezTo>
                  <a:cubicBezTo>
                    <a:pt x="29" y="192"/>
                    <a:pt x="35" y="165"/>
                    <a:pt x="41" y="138"/>
                  </a:cubicBezTo>
                  <a:cubicBezTo>
                    <a:pt x="48" y="108"/>
                    <a:pt x="55" y="81"/>
                    <a:pt x="69" y="54"/>
                  </a:cubicBezTo>
                  <a:cubicBezTo>
                    <a:pt x="77" y="37"/>
                    <a:pt x="82" y="17"/>
                    <a:pt x="92" y="1"/>
                  </a:cubicBezTo>
                  <a:cubicBezTo>
                    <a:pt x="92" y="0"/>
                    <a:pt x="92" y="0"/>
                    <a:pt x="9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32" name="Google Shape;438;p3">
              <a:extLst>
                <a:ext uri="{FF2B5EF4-FFF2-40B4-BE49-F238E27FC236}">
                  <a16:creationId xmlns:a16="http://schemas.microsoft.com/office/drawing/2014/main" id="{DD298F57-60E8-8A68-DFE7-EADADEBBA8AB}"/>
                </a:ext>
              </a:extLst>
            </p:cNvPr>
            <p:cNvSpPr/>
            <p:nvPr/>
          </p:nvSpPr>
          <p:spPr>
            <a:xfrm>
              <a:off x="4327525" y="5813426"/>
              <a:ext cx="38100" cy="228600"/>
            </a:xfrm>
            <a:custGeom>
              <a:avLst/>
              <a:gdLst/>
              <a:ahLst/>
              <a:cxnLst/>
              <a:rect l="l" t="t" r="r" b="b"/>
              <a:pathLst>
                <a:path w="23" h="136" extrusionOk="0"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43"/>
                    <a:pt x="0" y="91"/>
                    <a:pt x="4" y="136"/>
                  </a:cubicBezTo>
                  <a:cubicBezTo>
                    <a:pt x="23" y="136"/>
                    <a:pt x="23" y="136"/>
                    <a:pt x="23" y="136"/>
                  </a:cubicBezTo>
                  <a:cubicBezTo>
                    <a:pt x="23" y="120"/>
                    <a:pt x="21" y="104"/>
                    <a:pt x="20" y="89"/>
                  </a:cubicBezTo>
                  <a:cubicBezTo>
                    <a:pt x="18" y="59"/>
                    <a:pt x="15" y="29"/>
                    <a:pt x="1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33" name="Google Shape;439;p3">
              <a:extLst>
                <a:ext uri="{FF2B5EF4-FFF2-40B4-BE49-F238E27FC236}">
                  <a16:creationId xmlns:a16="http://schemas.microsoft.com/office/drawing/2014/main" id="{5845C7E2-27E5-D365-54E6-DA28080C2D6F}"/>
                </a:ext>
              </a:extLst>
            </p:cNvPr>
            <p:cNvSpPr/>
            <p:nvPr/>
          </p:nvSpPr>
          <p:spPr>
            <a:xfrm>
              <a:off x="4167188" y="3706813"/>
              <a:ext cx="1498600" cy="2016125"/>
            </a:xfrm>
            <a:custGeom>
              <a:avLst/>
              <a:gdLst/>
              <a:ahLst/>
              <a:cxnLst/>
              <a:rect l="l" t="t" r="r" b="b"/>
              <a:pathLst>
                <a:path w="890" h="1199" extrusionOk="0">
                  <a:moveTo>
                    <a:pt x="773" y="1041"/>
                  </a:moveTo>
                  <a:cubicBezTo>
                    <a:pt x="750" y="1032"/>
                    <a:pt x="727" y="1023"/>
                    <a:pt x="705" y="1013"/>
                  </a:cubicBezTo>
                  <a:cubicBezTo>
                    <a:pt x="691" y="1008"/>
                    <a:pt x="674" y="1000"/>
                    <a:pt x="658" y="1002"/>
                  </a:cubicBezTo>
                  <a:cubicBezTo>
                    <a:pt x="658" y="1002"/>
                    <a:pt x="658" y="1002"/>
                    <a:pt x="658" y="1001"/>
                  </a:cubicBezTo>
                  <a:cubicBezTo>
                    <a:pt x="658" y="1001"/>
                    <a:pt x="658" y="1001"/>
                    <a:pt x="659" y="1000"/>
                  </a:cubicBezTo>
                  <a:cubicBezTo>
                    <a:pt x="662" y="976"/>
                    <a:pt x="639" y="957"/>
                    <a:pt x="620" y="947"/>
                  </a:cubicBezTo>
                  <a:cubicBezTo>
                    <a:pt x="612" y="943"/>
                    <a:pt x="604" y="941"/>
                    <a:pt x="596" y="942"/>
                  </a:cubicBezTo>
                  <a:cubicBezTo>
                    <a:pt x="595" y="936"/>
                    <a:pt x="593" y="930"/>
                    <a:pt x="590" y="926"/>
                  </a:cubicBezTo>
                  <a:cubicBezTo>
                    <a:pt x="631" y="906"/>
                    <a:pt x="668" y="878"/>
                    <a:pt x="697" y="840"/>
                  </a:cubicBezTo>
                  <a:cubicBezTo>
                    <a:pt x="732" y="794"/>
                    <a:pt x="746" y="737"/>
                    <a:pt x="750" y="680"/>
                  </a:cubicBezTo>
                  <a:cubicBezTo>
                    <a:pt x="751" y="666"/>
                    <a:pt x="751" y="651"/>
                    <a:pt x="751" y="636"/>
                  </a:cubicBezTo>
                  <a:cubicBezTo>
                    <a:pt x="755" y="639"/>
                    <a:pt x="760" y="640"/>
                    <a:pt x="764" y="641"/>
                  </a:cubicBezTo>
                  <a:cubicBezTo>
                    <a:pt x="774" y="642"/>
                    <a:pt x="791" y="637"/>
                    <a:pt x="799" y="631"/>
                  </a:cubicBezTo>
                  <a:cubicBezTo>
                    <a:pt x="800" y="631"/>
                    <a:pt x="800" y="630"/>
                    <a:pt x="800" y="629"/>
                  </a:cubicBezTo>
                  <a:cubicBezTo>
                    <a:pt x="800" y="629"/>
                    <a:pt x="800" y="629"/>
                    <a:pt x="800" y="629"/>
                  </a:cubicBezTo>
                  <a:cubicBezTo>
                    <a:pt x="800" y="628"/>
                    <a:pt x="800" y="628"/>
                    <a:pt x="800" y="628"/>
                  </a:cubicBezTo>
                  <a:cubicBezTo>
                    <a:pt x="800" y="627"/>
                    <a:pt x="799" y="627"/>
                    <a:pt x="798" y="627"/>
                  </a:cubicBezTo>
                  <a:cubicBezTo>
                    <a:pt x="790" y="626"/>
                    <a:pt x="781" y="629"/>
                    <a:pt x="772" y="629"/>
                  </a:cubicBezTo>
                  <a:cubicBezTo>
                    <a:pt x="768" y="628"/>
                    <a:pt x="763" y="628"/>
                    <a:pt x="760" y="625"/>
                  </a:cubicBezTo>
                  <a:cubicBezTo>
                    <a:pt x="755" y="623"/>
                    <a:pt x="755" y="617"/>
                    <a:pt x="750" y="615"/>
                  </a:cubicBezTo>
                  <a:cubicBezTo>
                    <a:pt x="750" y="614"/>
                    <a:pt x="750" y="614"/>
                    <a:pt x="749" y="614"/>
                  </a:cubicBezTo>
                  <a:cubicBezTo>
                    <a:pt x="749" y="604"/>
                    <a:pt x="748" y="594"/>
                    <a:pt x="747" y="584"/>
                  </a:cubicBezTo>
                  <a:cubicBezTo>
                    <a:pt x="744" y="555"/>
                    <a:pt x="740" y="524"/>
                    <a:pt x="728" y="497"/>
                  </a:cubicBezTo>
                  <a:cubicBezTo>
                    <a:pt x="728" y="496"/>
                    <a:pt x="726" y="497"/>
                    <a:pt x="726" y="498"/>
                  </a:cubicBezTo>
                  <a:cubicBezTo>
                    <a:pt x="725" y="524"/>
                    <a:pt x="731" y="549"/>
                    <a:pt x="734" y="575"/>
                  </a:cubicBezTo>
                  <a:cubicBezTo>
                    <a:pt x="738" y="605"/>
                    <a:pt x="739" y="634"/>
                    <a:pt x="737" y="663"/>
                  </a:cubicBezTo>
                  <a:cubicBezTo>
                    <a:pt x="734" y="718"/>
                    <a:pt x="717" y="772"/>
                    <a:pt x="687" y="818"/>
                  </a:cubicBezTo>
                  <a:cubicBezTo>
                    <a:pt x="628" y="908"/>
                    <a:pt x="521" y="939"/>
                    <a:pt x="420" y="938"/>
                  </a:cubicBezTo>
                  <a:cubicBezTo>
                    <a:pt x="312" y="935"/>
                    <a:pt x="211" y="890"/>
                    <a:pt x="161" y="792"/>
                  </a:cubicBezTo>
                  <a:cubicBezTo>
                    <a:pt x="115" y="700"/>
                    <a:pt x="133" y="587"/>
                    <a:pt x="142" y="486"/>
                  </a:cubicBezTo>
                  <a:cubicBezTo>
                    <a:pt x="143" y="486"/>
                    <a:pt x="144" y="486"/>
                    <a:pt x="144" y="486"/>
                  </a:cubicBezTo>
                  <a:cubicBezTo>
                    <a:pt x="150" y="485"/>
                    <a:pt x="156" y="485"/>
                    <a:pt x="162" y="486"/>
                  </a:cubicBezTo>
                  <a:cubicBezTo>
                    <a:pt x="170" y="486"/>
                    <a:pt x="173" y="478"/>
                    <a:pt x="171" y="472"/>
                  </a:cubicBezTo>
                  <a:cubicBezTo>
                    <a:pt x="174" y="451"/>
                    <a:pt x="172" y="428"/>
                    <a:pt x="172" y="407"/>
                  </a:cubicBezTo>
                  <a:cubicBezTo>
                    <a:pt x="171" y="378"/>
                    <a:pt x="171" y="349"/>
                    <a:pt x="174" y="320"/>
                  </a:cubicBezTo>
                  <a:cubicBezTo>
                    <a:pt x="177" y="289"/>
                    <a:pt x="185" y="260"/>
                    <a:pt x="198" y="231"/>
                  </a:cubicBezTo>
                  <a:cubicBezTo>
                    <a:pt x="210" y="206"/>
                    <a:pt x="230" y="196"/>
                    <a:pt x="251" y="181"/>
                  </a:cubicBezTo>
                  <a:cubicBezTo>
                    <a:pt x="254" y="179"/>
                    <a:pt x="253" y="174"/>
                    <a:pt x="249" y="174"/>
                  </a:cubicBezTo>
                  <a:cubicBezTo>
                    <a:pt x="199" y="178"/>
                    <a:pt x="179" y="246"/>
                    <a:pt x="169" y="285"/>
                  </a:cubicBezTo>
                  <a:cubicBezTo>
                    <a:pt x="162" y="316"/>
                    <a:pt x="160" y="349"/>
                    <a:pt x="159" y="381"/>
                  </a:cubicBezTo>
                  <a:cubicBezTo>
                    <a:pt x="158" y="408"/>
                    <a:pt x="157" y="438"/>
                    <a:pt x="161" y="465"/>
                  </a:cubicBezTo>
                  <a:cubicBezTo>
                    <a:pt x="157" y="466"/>
                    <a:pt x="154" y="466"/>
                    <a:pt x="150" y="466"/>
                  </a:cubicBezTo>
                  <a:cubicBezTo>
                    <a:pt x="150" y="457"/>
                    <a:pt x="148" y="448"/>
                    <a:pt x="146" y="439"/>
                  </a:cubicBezTo>
                  <a:cubicBezTo>
                    <a:pt x="139" y="409"/>
                    <a:pt x="138" y="380"/>
                    <a:pt x="137" y="349"/>
                  </a:cubicBezTo>
                  <a:cubicBezTo>
                    <a:pt x="137" y="349"/>
                    <a:pt x="136" y="349"/>
                    <a:pt x="136" y="349"/>
                  </a:cubicBezTo>
                  <a:cubicBezTo>
                    <a:pt x="135" y="374"/>
                    <a:pt x="135" y="399"/>
                    <a:pt x="134" y="424"/>
                  </a:cubicBezTo>
                  <a:cubicBezTo>
                    <a:pt x="134" y="425"/>
                    <a:pt x="134" y="426"/>
                    <a:pt x="134" y="427"/>
                  </a:cubicBezTo>
                  <a:cubicBezTo>
                    <a:pt x="128" y="397"/>
                    <a:pt x="126" y="366"/>
                    <a:pt x="126" y="335"/>
                  </a:cubicBezTo>
                  <a:cubicBezTo>
                    <a:pt x="126" y="298"/>
                    <a:pt x="126" y="260"/>
                    <a:pt x="135" y="224"/>
                  </a:cubicBezTo>
                  <a:cubicBezTo>
                    <a:pt x="152" y="151"/>
                    <a:pt x="210" y="100"/>
                    <a:pt x="275" y="70"/>
                  </a:cubicBezTo>
                  <a:cubicBezTo>
                    <a:pt x="309" y="54"/>
                    <a:pt x="346" y="46"/>
                    <a:pt x="382" y="39"/>
                  </a:cubicBezTo>
                  <a:cubicBezTo>
                    <a:pt x="424" y="32"/>
                    <a:pt x="467" y="28"/>
                    <a:pt x="509" y="35"/>
                  </a:cubicBezTo>
                  <a:cubicBezTo>
                    <a:pt x="533" y="39"/>
                    <a:pt x="557" y="49"/>
                    <a:pt x="579" y="60"/>
                  </a:cubicBezTo>
                  <a:cubicBezTo>
                    <a:pt x="598" y="69"/>
                    <a:pt x="629" y="83"/>
                    <a:pt x="631" y="107"/>
                  </a:cubicBezTo>
                  <a:cubicBezTo>
                    <a:pt x="592" y="51"/>
                    <a:pt x="508" y="46"/>
                    <a:pt x="446" y="48"/>
                  </a:cubicBezTo>
                  <a:cubicBezTo>
                    <a:pt x="446" y="48"/>
                    <a:pt x="446" y="49"/>
                    <a:pt x="446" y="49"/>
                  </a:cubicBezTo>
                  <a:cubicBezTo>
                    <a:pt x="479" y="53"/>
                    <a:pt x="511" y="57"/>
                    <a:pt x="543" y="66"/>
                  </a:cubicBezTo>
                  <a:cubicBezTo>
                    <a:pt x="579" y="77"/>
                    <a:pt x="602" y="95"/>
                    <a:pt x="627" y="123"/>
                  </a:cubicBezTo>
                  <a:cubicBezTo>
                    <a:pt x="631" y="129"/>
                    <a:pt x="639" y="123"/>
                    <a:pt x="637" y="117"/>
                  </a:cubicBezTo>
                  <a:cubicBezTo>
                    <a:pt x="638" y="117"/>
                    <a:pt x="638" y="117"/>
                    <a:pt x="639" y="117"/>
                  </a:cubicBezTo>
                  <a:cubicBezTo>
                    <a:pt x="640" y="118"/>
                    <a:pt x="642" y="118"/>
                    <a:pt x="643" y="119"/>
                  </a:cubicBezTo>
                  <a:cubicBezTo>
                    <a:pt x="663" y="120"/>
                    <a:pt x="679" y="124"/>
                    <a:pt x="693" y="140"/>
                  </a:cubicBezTo>
                  <a:cubicBezTo>
                    <a:pt x="705" y="152"/>
                    <a:pt x="713" y="168"/>
                    <a:pt x="722" y="182"/>
                  </a:cubicBezTo>
                  <a:cubicBezTo>
                    <a:pt x="723" y="183"/>
                    <a:pt x="723" y="183"/>
                    <a:pt x="723" y="182"/>
                  </a:cubicBezTo>
                  <a:cubicBezTo>
                    <a:pt x="718" y="159"/>
                    <a:pt x="704" y="133"/>
                    <a:pt x="684" y="118"/>
                  </a:cubicBezTo>
                  <a:cubicBezTo>
                    <a:pt x="708" y="126"/>
                    <a:pt x="724" y="148"/>
                    <a:pt x="736" y="177"/>
                  </a:cubicBezTo>
                  <a:cubicBezTo>
                    <a:pt x="744" y="196"/>
                    <a:pt x="749" y="217"/>
                    <a:pt x="751" y="237"/>
                  </a:cubicBezTo>
                  <a:cubicBezTo>
                    <a:pt x="755" y="265"/>
                    <a:pt x="750" y="292"/>
                    <a:pt x="752" y="319"/>
                  </a:cubicBezTo>
                  <a:cubicBezTo>
                    <a:pt x="752" y="320"/>
                    <a:pt x="754" y="320"/>
                    <a:pt x="754" y="319"/>
                  </a:cubicBezTo>
                  <a:cubicBezTo>
                    <a:pt x="760" y="265"/>
                    <a:pt x="764" y="203"/>
                    <a:pt x="742" y="152"/>
                  </a:cubicBezTo>
                  <a:cubicBezTo>
                    <a:pt x="724" y="113"/>
                    <a:pt x="690" y="86"/>
                    <a:pt x="649" y="97"/>
                  </a:cubicBezTo>
                  <a:cubicBezTo>
                    <a:pt x="641" y="58"/>
                    <a:pt x="572" y="36"/>
                    <a:pt x="541" y="26"/>
                  </a:cubicBezTo>
                  <a:cubicBezTo>
                    <a:pt x="463" y="0"/>
                    <a:pt x="366" y="18"/>
                    <a:pt x="291" y="46"/>
                  </a:cubicBezTo>
                  <a:cubicBezTo>
                    <a:pt x="220" y="72"/>
                    <a:pt x="159" y="122"/>
                    <a:pt x="130" y="192"/>
                  </a:cubicBezTo>
                  <a:cubicBezTo>
                    <a:pt x="114" y="229"/>
                    <a:pt x="113" y="268"/>
                    <a:pt x="112" y="308"/>
                  </a:cubicBezTo>
                  <a:cubicBezTo>
                    <a:pt x="111" y="348"/>
                    <a:pt x="112" y="387"/>
                    <a:pt x="118" y="427"/>
                  </a:cubicBezTo>
                  <a:cubicBezTo>
                    <a:pt x="106" y="419"/>
                    <a:pt x="89" y="416"/>
                    <a:pt x="77" y="417"/>
                  </a:cubicBezTo>
                  <a:cubicBezTo>
                    <a:pt x="57" y="418"/>
                    <a:pt x="42" y="430"/>
                    <a:pt x="30" y="445"/>
                  </a:cubicBezTo>
                  <a:cubicBezTo>
                    <a:pt x="6" y="477"/>
                    <a:pt x="0" y="532"/>
                    <a:pt x="20" y="566"/>
                  </a:cubicBezTo>
                  <a:cubicBezTo>
                    <a:pt x="20" y="566"/>
                    <a:pt x="21" y="566"/>
                    <a:pt x="21" y="566"/>
                  </a:cubicBezTo>
                  <a:cubicBezTo>
                    <a:pt x="18" y="535"/>
                    <a:pt x="22" y="499"/>
                    <a:pt x="35" y="470"/>
                  </a:cubicBezTo>
                  <a:cubicBezTo>
                    <a:pt x="42" y="454"/>
                    <a:pt x="53" y="439"/>
                    <a:pt x="70" y="435"/>
                  </a:cubicBezTo>
                  <a:cubicBezTo>
                    <a:pt x="93" y="428"/>
                    <a:pt x="105" y="455"/>
                    <a:pt x="125" y="457"/>
                  </a:cubicBezTo>
                  <a:cubicBezTo>
                    <a:pt x="127" y="461"/>
                    <a:pt x="130" y="462"/>
                    <a:pt x="133" y="461"/>
                  </a:cubicBezTo>
                  <a:cubicBezTo>
                    <a:pt x="133" y="465"/>
                    <a:pt x="133" y="468"/>
                    <a:pt x="132" y="471"/>
                  </a:cubicBezTo>
                  <a:cubicBezTo>
                    <a:pt x="131" y="472"/>
                    <a:pt x="131" y="474"/>
                    <a:pt x="130" y="475"/>
                  </a:cubicBezTo>
                  <a:cubicBezTo>
                    <a:pt x="128" y="480"/>
                    <a:pt x="131" y="484"/>
                    <a:pt x="136" y="485"/>
                  </a:cubicBezTo>
                  <a:cubicBezTo>
                    <a:pt x="128" y="537"/>
                    <a:pt x="120" y="590"/>
                    <a:pt x="119" y="642"/>
                  </a:cubicBezTo>
                  <a:cubicBezTo>
                    <a:pt x="115" y="642"/>
                    <a:pt x="112" y="644"/>
                    <a:pt x="106" y="646"/>
                  </a:cubicBezTo>
                  <a:cubicBezTo>
                    <a:pt x="93" y="650"/>
                    <a:pt x="78" y="647"/>
                    <a:pt x="66" y="642"/>
                  </a:cubicBezTo>
                  <a:cubicBezTo>
                    <a:pt x="38" y="630"/>
                    <a:pt x="33" y="605"/>
                    <a:pt x="21" y="581"/>
                  </a:cubicBezTo>
                  <a:cubicBezTo>
                    <a:pt x="21" y="580"/>
                    <a:pt x="20" y="580"/>
                    <a:pt x="20" y="581"/>
                  </a:cubicBezTo>
                  <a:cubicBezTo>
                    <a:pt x="27" y="612"/>
                    <a:pt x="30" y="642"/>
                    <a:pt x="62" y="659"/>
                  </a:cubicBezTo>
                  <a:cubicBezTo>
                    <a:pt x="74" y="665"/>
                    <a:pt x="103" y="671"/>
                    <a:pt x="118" y="663"/>
                  </a:cubicBezTo>
                  <a:cubicBezTo>
                    <a:pt x="119" y="715"/>
                    <a:pt x="127" y="766"/>
                    <a:pt x="151" y="813"/>
                  </a:cubicBezTo>
                  <a:cubicBezTo>
                    <a:pt x="185" y="880"/>
                    <a:pt x="248" y="921"/>
                    <a:pt x="317" y="941"/>
                  </a:cubicBezTo>
                  <a:cubicBezTo>
                    <a:pt x="317" y="944"/>
                    <a:pt x="316" y="947"/>
                    <a:pt x="316" y="950"/>
                  </a:cubicBezTo>
                  <a:cubicBezTo>
                    <a:pt x="314" y="950"/>
                    <a:pt x="313" y="950"/>
                    <a:pt x="311" y="950"/>
                  </a:cubicBezTo>
                  <a:cubicBezTo>
                    <a:pt x="303" y="953"/>
                    <a:pt x="296" y="961"/>
                    <a:pt x="291" y="968"/>
                  </a:cubicBezTo>
                  <a:cubicBezTo>
                    <a:pt x="284" y="976"/>
                    <a:pt x="278" y="985"/>
                    <a:pt x="273" y="994"/>
                  </a:cubicBezTo>
                  <a:cubicBezTo>
                    <a:pt x="269" y="999"/>
                    <a:pt x="266" y="1005"/>
                    <a:pt x="265" y="1011"/>
                  </a:cubicBezTo>
                  <a:cubicBezTo>
                    <a:pt x="264" y="1012"/>
                    <a:pt x="264" y="1013"/>
                    <a:pt x="264" y="1015"/>
                  </a:cubicBezTo>
                  <a:cubicBezTo>
                    <a:pt x="264" y="1017"/>
                    <a:pt x="264" y="1019"/>
                    <a:pt x="264" y="1021"/>
                  </a:cubicBezTo>
                  <a:cubicBezTo>
                    <a:pt x="264" y="1021"/>
                    <a:pt x="264" y="1021"/>
                    <a:pt x="264" y="1021"/>
                  </a:cubicBezTo>
                  <a:cubicBezTo>
                    <a:pt x="222" y="1040"/>
                    <a:pt x="178" y="1054"/>
                    <a:pt x="135" y="1071"/>
                  </a:cubicBezTo>
                  <a:cubicBezTo>
                    <a:pt x="99" y="1086"/>
                    <a:pt x="64" y="1104"/>
                    <a:pt x="44" y="1138"/>
                  </a:cubicBezTo>
                  <a:cubicBezTo>
                    <a:pt x="44" y="1139"/>
                    <a:pt x="45" y="1139"/>
                    <a:pt x="45" y="1139"/>
                  </a:cubicBezTo>
                  <a:cubicBezTo>
                    <a:pt x="110" y="1087"/>
                    <a:pt x="193" y="1071"/>
                    <a:pt x="267" y="1039"/>
                  </a:cubicBezTo>
                  <a:cubicBezTo>
                    <a:pt x="271" y="1054"/>
                    <a:pt x="277" y="1070"/>
                    <a:pt x="283" y="1084"/>
                  </a:cubicBezTo>
                  <a:cubicBezTo>
                    <a:pt x="299" y="1121"/>
                    <a:pt x="316" y="1165"/>
                    <a:pt x="346" y="1194"/>
                  </a:cubicBezTo>
                  <a:cubicBezTo>
                    <a:pt x="347" y="1195"/>
                    <a:pt x="349" y="1194"/>
                    <a:pt x="348" y="1192"/>
                  </a:cubicBezTo>
                  <a:cubicBezTo>
                    <a:pt x="342" y="1177"/>
                    <a:pt x="332" y="1164"/>
                    <a:pt x="326" y="1150"/>
                  </a:cubicBezTo>
                  <a:cubicBezTo>
                    <a:pt x="315" y="1126"/>
                    <a:pt x="306" y="1102"/>
                    <a:pt x="298" y="1078"/>
                  </a:cubicBezTo>
                  <a:cubicBezTo>
                    <a:pt x="291" y="1056"/>
                    <a:pt x="286" y="1032"/>
                    <a:pt x="277" y="1011"/>
                  </a:cubicBezTo>
                  <a:cubicBezTo>
                    <a:pt x="277" y="1011"/>
                    <a:pt x="276" y="1011"/>
                    <a:pt x="276" y="1010"/>
                  </a:cubicBezTo>
                  <a:cubicBezTo>
                    <a:pt x="282" y="1002"/>
                    <a:pt x="287" y="994"/>
                    <a:pt x="293" y="986"/>
                  </a:cubicBezTo>
                  <a:cubicBezTo>
                    <a:pt x="298" y="980"/>
                    <a:pt x="304" y="974"/>
                    <a:pt x="310" y="969"/>
                  </a:cubicBezTo>
                  <a:cubicBezTo>
                    <a:pt x="314" y="965"/>
                    <a:pt x="315" y="966"/>
                    <a:pt x="319" y="967"/>
                  </a:cubicBezTo>
                  <a:cubicBezTo>
                    <a:pt x="323" y="980"/>
                    <a:pt x="332" y="994"/>
                    <a:pt x="341" y="1003"/>
                  </a:cubicBezTo>
                  <a:cubicBezTo>
                    <a:pt x="355" y="1020"/>
                    <a:pt x="392" y="1054"/>
                    <a:pt x="416" y="1040"/>
                  </a:cubicBezTo>
                  <a:cubicBezTo>
                    <a:pt x="416" y="1039"/>
                    <a:pt x="417" y="1038"/>
                    <a:pt x="416" y="1037"/>
                  </a:cubicBezTo>
                  <a:cubicBezTo>
                    <a:pt x="411" y="1029"/>
                    <a:pt x="403" y="1028"/>
                    <a:pt x="395" y="1024"/>
                  </a:cubicBezTo>
                  <a:cubicBezTo>
                    <a:pt x="382" y="1018"/>
                    <a:pt x="371" y="1009"/>
                    <a:pt x="361" y="1000"/>
                  </a:cubicBezTo>
                  <a:cubicBezTo>
                    <a:pt x="352" y="991"/>
                    <a:pt x="343" y="981"/>
                    <a:pt x="336" y="970"/>
                  </a:cubicBezTo>
                  <a:cubicBezTo>
                    <a:pt x="332" y="962"/>
                    <a:pt x="331" y="953"/>
                    <a:pt x="330" y="945"/>
                  </a:cubicBezTo>
                  <a:cubicBezTo>
                    <a:pt x="359" y="953"/>
                    <a:pt x="390" y="957"/>
                    <a:pt x="420" y="958"/>
                  </a:cubicBezTo>
                  <a:cubicBezTo>
                    <a:pt x="474" y="961"/>
                    <a:pt x="528" y="952"/>
                    <a:pt x="576" y="932"/>
                  </a:cubicBezTo>
                  <a:cubicBezTo>
                    <a:pt x="576" y="937"/>
                    <a:pt x="577" y="942"/>
                    <a:pt x="578" y="947"/>
                  </a:cubicBezTo>
                  <a:cubicBezTo>
                    <a:pt x="578" y="954"/>
                    <a:pt x="577" y="960"/>
                    <a:pt x="578" y="967"/>
                  </a:cubicBezTo>
                  <a:cubicBezTo>
                    <a:pt x="574" y="983"/>
                    <a:pt x="565" y="997"/>
                    <a:pt x="554" y="1010"/>
                  </a:cubicBezTo>
                  <a:cubicBezTo>
                    <a:pt x="544" y="1023"/>
                    <a:pt x="531" y="1032"/>
                    <a:pt x="522" y="1045"/>
                  </a:cubicBezTo>
                  <a:cubicBezTo>
                    <a:pt x="522" y="1046"/>
                    <a:pt x="523" y="1046"/>
                    <a:pt x="523" y="1046"/>
                  </a:cubicBezTo>
                  <a:cubicBezTo>
                    <a:pt x="559" y="1039"/>
                    <a:pt x="590" y="994"/>
                    <a:pt x="597" y="960"/>
                  </a:cubicBezTo>
                  <a:cubicBezTo>
                    <a:pt x="597" y="960"/>
                    <a:pt x="597" y="960"/>
                    <a:pt x="598" y="959"/>
                  </a:cubicBezTo>
                  <a:cubicBezTo>
                    <a:pt x="605" y="962"/>
                    <a:pt x="613" y="964"/>
                    <a:pt x="620" y="969"/>
                  </a:cubicBezTo>
                  <a:cubicBezTo>
                    <a:pt x="632" y="976"/>
                    <a:pt x="637" y="990"/>
                    <a:pt x="646" y="999"/>
                  </a:cubicBezTo>
                  <a:cubicBezTo>
                    <a:pt x="645" y="1008"/>
                    <a:pt x="645" y="1016"/>
                    <a:pt x="645" y="1026"/>
                  </a:cubicBezTo>
                  <a:cubicBezTo>
                    <a:pt x="646" y="1044"/>
                    <a:pt x="644" y="1062"/>
                    <a:pt x="643" y="1081"/>
                  </a:cubicBezTo>
                  <a:cubicBezTo>
                    <a:pt x="640" y="1121"/>
                    <a:pt x="629" y="1157"/>
                    <a:pt x="619" y="1195"/>
                  </a:cubicBezTo>
                  <a:cubicBezTo>
                    <a:pt x="618" y="1197"/>
                    <a:pt x="621" y="1199"/>
                    <a:pt x="622" y="1197"/>
                  </a:cubicBezTo>
                  <a:cubicBezTo>
                    <a:pt x="643" y="1172"/>
                    <a:pt x="649" y="1132"/>
                    <a:pt x="655" y="1101"/>
                  </a:cubicBezTo>
                  <a:cubicBezTo>
                    <a:pt x="659" y="1078"/>
                    <a:pt x="665" y="1046"/>
                    <a:pt x="662" y="1019"/>
                  </a:cubicBezTo>
                  <a:cubicBezTo>
                    <a:pt x="672" y="1022"/>
                    <a:pt x="683" y="1024"/>
                    <a:pt x="692" y="1028"/>
                  </a:cubicBezTo>
                  <a:cubicBezTo>
                    <a:pt x="712" y="1036"/>
                    <a:pt x="732" y="1044"/>
                    <a:pt x="751" y="1052"/>
                  </a:cubicBezTo>
                  <a:cubicBezTo>
                    <a:pt x="772" y="1059"/>
                    <a:pt x="792" y="1066"/>
                    <a:pt x="812" y="1073"/>
                  </a:cubicBezTo>
                  <a:cubicBezTo>
                    <a:pt x="837" y="1082"/>
                    <a:pt x="860" y="1096"/>
                    <a:pt x="884" y="1107"/>
                  </a:cubicBezTo>
                  <a:cubicBezTo>
                    <a:pt x="886" y="1108"/>
                    <a:pt x="890" y="1105"/>
                    <a:pt x="888" y="1102"/>
                  </a:cubicBezTo>
                  <a:cubicBezTo>
                    <a:pt x="862" y="1068"/>
                    <a:pt x="812" y="1055"/>
                    <a:pt x="773" y="104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34" name="Google Shape;440;p3">
              <a:extLst>
                <a:ext uri="{FF2B5EF4-FFF2-40B4-BE49-F238E27FC236}">
                  <a16:creationId xmlns:a16="http://schemas.microsoft.com/office/drawing/2014/main" id="{0DE18A97-185D-DA04-CF62-E8A8DDFE711E}"/>
                </a:ext>
              </a:extLst>
            </p:cNvPr>
            <p:cNvSpPr/>
            <p:nvPr/>
          </p:nvSpPr>
          <p:spPr>
            <a:xfrm>
              <a:off x="5668963" y="5586413"/>
              <a:ext cx="158750" cy="455613"/>
            </a:xfrm>
            <a:custGeom>
              <a:avLst/>
              <a:gdLst/>
              <a:ahLst/>
              <a:cxnLst/>
              <a:rect l="l" t="t" r="r" b="b"/>
              <a:pathLst>
                <a:path w="94" h="271" extrusionOk="0">
                  <a:moveTo>
                    <a:pt x="85" y="235"/>
                  </a:moveTo>
                  <a:cubicBezTo>
                    <a:pt x="78" y="206"/>
                    <a:pt x="71" y="178"/>
                    <a:pt x="63" y="149"/>
                  </a:cubicBezTo>
                  <a:cubicBezTo>
                    <a:pt x="55" y="120"/>
                    <a:pt x="45" y="92"/>
                    <a:pt x="34" y="64"/>
                  </a:cubicBezTo>
                  <a:cubicBezTo>
                    <a:pt x="26" y="43"/>
                    <a:pt x="18" y="17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2" y="27"/>
                    <a:pt x="16" y="52"/>
                    <a:pt x="23" y="77"/>
                  </a:cubicBezTo>
                  <a:cubicBezTo>
                    <a:pt x="32" y="105"/>
                    <a:pt x="40" y="134"/>
                    <a:pt x="47" y="162"/>
                  </a:cubicBezTo>
                  <a:cubicBezTo>
                    <a:pt x="55" y="191"/>
                    <a:pt x="61" y="220"/>
                    <a:pt x="68" y="249"/>
                  </a:cubicBezTo>
                  <a:cubicBezTo>
                    <a:pt x="70" y="256"/>
                    <a:pt x="70" y="263"/>
                    <a:pt x="71" y="271"/>
                  </a:cubicBezTo>
                  <a:cubicBezTo>
                    <a:pt x="94" y="271"/>
                    <a:pt x="94" y="271"/>
                    <a:pt x="94" y="271"/>
                  </a:cubicBezTo>
                  <a:cubicBezTo>
                    <a:pt x="91" y="259"/>
                    <a:pt x="88" y="246"/>
                    <a:pt x="85" y="23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35" name="Google Shape;441;p3">
              <a:extLst>
                <a:ext uri="{FF2B5EF4-FFF2-40B4-BE49-F238E27FC236}">
                  <a16:creationId xmlns:a16="http://schemas.microsoft.com/office/drawing/2014/main" id="{7DC28916-6C43-7D3D-2DE9-A5EF4DEBBB0E}"/>
                </a:ext>
              </a:extLst>
            </p:cNvPr>
            <p:cNvSpPr/>
            <p:nvPr/>
          </p:nvSpPr>
          <p:spPr>
            <a:xfrm>
              <a:off x="5567363" y="5778501"/>
              <a:ext cx="57150" cy="263525"/>
            </a:xfrm>
            <a:custGeom>
              <a:avLst/>
              <a:gdLst/>
              <a:ahLst/>
              <a:cxnLst/>
              <a:rect l="l" t="t" r="r" b="b"/>
              <a:pathLst>
                <a:path w="34" h="157" extrusionOk="0">
                  <a:moveTo>
                    <a:pt x="16" y="46"/>
                  </a:moveTo>
                  <a:cubicBezTo>
                    <a:pt x="16" y="31"/>
                    <a:pt x="21" y="16"/>
                    <a:pt x="16" y="1"/>
                  </a:cubicBezTo>
                  <a:cubicBezTo>
                    <a:pt x="16" y="0"/>
                    <a:pt x="15" y="0"/>
                    <a:pt x="14" y="1"/>
                  </a:cubicBezTo>
                  <a:cubicBezTo>
                    <a:pt x="1" y="29"/>
                    <a:pt x="0" y="59"/>
                    <a:pt x="3" y="90"/>
                  </a:cubicBezTo>
                  <a:cubicBezTo>
                    <a:pt x="5" y="106"/>
                    <a:pt x="8" y="121"/>
                    <a:pt x="11" y="136"/>
                  </a:cubicBezTo>
                  <a:cubicBezTo>
                    <a:pt x="12" y="144"/>
                    <a:pt x="13" y="151"/>
                    <a:pt x="14" y="157"/>
                  </a:cubicBezTo>
                  <a:cubicBezTo>
                    <a:pt x="34" y="157"/>
                    <a:pt x="34" y="157"/>
                    <a:pt x="34" y="157"/>
                  </a:cubicBezTo>
                  <a:cubicBezTo>
                    <a:pt x="33" y="137"/>
                    <a:pt x="25" y="115"/>
                    <a:pt x="21" y="97"/>
                  </a:cubicBezTo>
                  <a:cubicBezTo>
                    <a:pt x="18" y="80"/>
                    <a:pt x="17" y="63"/>
                    <a:pt x="16" y="4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36" name="Google Shape;442;p3">
              <a:extLst>
                <a:ext uri="{FF2B5EF4-FFF2-40B4-BE49-F238E27FC236}">
                  <a16:creationId xmlns:a16="http://schemas.microsoft.com/office/drawing/2014/main" id="{6CD7A080-CAA2-DD00-255A-EFDEF5E45117}"/>
                </a:ext>
              </a:extLst>
            </p:cNvPr>
            <p:cNvSpPr/>
            <p:nvPr/>
          </p:nvSpPr>
          <p:spPr>
            <a:xfrm>
              <a:off x="4778375" y="5445126"/>
              <a:ext cx="430213" cy="596900"/>
            </a:xfrm>
            <a:custGeom>
              <a:avLst/>
              <a:gdLst/>
              <a:ahLst/>
              <a:cxnLst/>
              <a:rect l="l" t="t" r="r" b="b"/>
              <a:pathLst>
                <a:path w="255" h="355" extrusionOk="0">
                  <a:moveTo>
                    <a:pt x="228" y="269"/>
                  </a:moveTo>
                  <a:cubicBezTo>
                    <a:pt x="216" y="239"/>
                    <a:pt x="201" y="199"/>
                    <a:pt x="172" y="180"/>
                  </a:cubicBezTo>
                  <a:cubicBezTo>
                    <a:pt x="176" y="176"/>
                    <a:pt x="179" y="172"/>
                    <a:pt x="179" y="168"/>
                  </a:cubicBezTo>
                  <a:cubicBezTo>
                    <a:pt x="179" y="153"/>
                    <a:pt x="161" y="169"/>
                    <a:pt x="157" y="171"/>
                  </a:cubicBezTo>
                  <a:cubicBezTo>
                    <a:pt x="139" y="183"/>
                    <a:pt x="117" y="184"/>
                    <a:pt x="97" y="187"/>
                  </a:cubicBezTo>
                  <a:cubicBezTo>
                    <a:pt x="97" y="187"/>
                    <a:pt x="97" y="187"/>
                    <a:pt x="97" y="187"/>
                  </a:cubicBezTo>
                  <a:cubicBezTo>
                    <a:pt x="77" y="172"/>
                    <a:pt x="64" y="151"/>
                    <a:pt x="52" y="130"/>
                  </a:cubicBezTo>
                  <a:cubicBezTo>
                    <a:pt x="45" y="117"/>
                    <a:pt x="40" y="98"/>
                    <a:pt x="31" y="85"/>
                  </a:cubicBezTo>
                  <a:cubicBezTo>
                    <a:pt x="36" y="66"/>
                    <a:pt x="42" y="48"/>
                    <a:pt x="50" y="30"/>
                  </a:cubicBezTo>
                  <a:cubicBezTo>
                    <a:pt x="76" y="27"/>
                    <a:pt x="99" y="22"/>
                    <a:pt x="125" y="23"/>
                  </a:cubicBezTo>
                  <a:cubicBezTo>
                    <a:pt x="136" y="23"/>
                    <a:pt x="148" y="29"/>
                    <a:pt x="158" y="29"/>
                  </a:cubicBezTo>
                  <a:cubicBezTo>
                    <a:pt x="159" y="29"/>
                    <a:pt x="161" y="29"/>
                    <a:pt x="162" y="28"/>
                  </a:cubicBezTo>
                  <a:cubicBezTo>
                    <a:pt x="171" y="37"/>
                    <a:pt x="185" y="52"/>
                    <a:pt x="188" y="55"/>
                  </a:cubicBezTo>
                  <a:cubicBezTo>
                    <a:pt x="193" y="62"/>
                    <a:pt x="199" y="69"/>
                    <a:pt x="204" y="77"/>
                  </a:cubicBezTo>
                  <a:cubicBezTo>
                    <a:pt x="202" y="78"/>
                    <a:pt x="201" y="81"/>
                    <a:pt x="201" y="84"/>
                  </a:cubicBezTo>
                  <a:cubicBezTo>
                    <a:pt x="202" y="95"/>
                    <a:pt x="199" y="106"/>
                    <a:pt x="195" y="116"/>
                  </a:cubicBezTo>
                  <a:cubicBezTo>
                    <a:pt x="190" y="127"/>
                    <a:pt x="186" y="138"/>
                    <a:pt x="180" y="148"/>
                  </a:cubicBezTo>
                  <a:cubicBezTo>
                    <a:pt x="180" y="148"/>
                    <a:pt x="181" y="149"/>
                    <a:pt x="181" y="149"/>
                  </a:cubicBezTo>
                  <a:cubicBezTo>
                    <a:pt x="199" y="139"/>
                    <a:pt x="212" y="118"/>
                    <a:pt x="216" y="98"/>
                  </a:cubicBezTo>
                  <a:cubicBezTo>
                    <a:pt x="229" y="124"/>
                    <a:pt x="237" y="152"/>
                    <a:pt x="244" y="181"/>
                  </a:cubicBezTo>
                  <a:cubicBezTo>
                    <a:pt x="245" y="184"/>
                    <a:pt x="251" y="183"/>
                    <a:pt x="250" y="179"/>
                  </a:cubicBezTo>
                  <a:cubicBezTo>
                    <a:pt x="245" y="143"/>
                    <a:pt x="235" y="112"/>
                    <a:pt x="220" y="79"/>
                  </a:cubicBezTo>
                  <a:cubicBezTo>
                    <a:pt x="207" y="53"/>
                    <a:pt x="194" y="25"/>
                    <a:pt x="164" y="16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64" y="15"/>
                    <a:pt x="163" y="15"/>
                    <a:pt x="162" y="14"/>
                  </a:cubicBezTo>
                  <a:cubicBezTo>
                    <a:pt x="138" y="4"/>
                    <a:pt x="84" y="0"/>
                    <a:pt x="57" y="17"/>
                  </a:cubicBezTo>
                  <a:cubicBezTo>
                    <a:pt x="57" y="17"/>
                    <a:pt x="56" y="16"/>
                    <a:pt x="56" y="16"/>
                  </a:cubicBezTo>
                  <a:cubicBezTo>
                    <a:pt x="34" y="20"/>
                    <a:pt x="26" y="54"/>
                    <a:pt x="21" y="72"/>
                  </a:cubicBezTo>
                  <a:cubicBezTo>
                    <a:pt x="16" y="91"/>
                    <a:pt x="12" y="111"/>
                    <a:pt x="9" y="130"/>
                  </a:cubicBezTo>
                  <a:cubicBezTo>
                    <a:pt x="6" y="147"/>
                    <a:pt x="0" y="163"/>
                    <a:pt x="4" y="180"/>
                  </a:cubicBezTo>
                  <a:cubicBezTo>
                    <a:pt x="4" y="181"/>
                    <a:pt x="6" y="181"/>
                    <a:pt x="6" y="180"/>
                  </a:cubicBezTo>
                  <a:cubicBezTo>
                    <a:pt x="18" y="160"/>
                    <a:pt x="21" y="133"/>
                    <a:pt x="26" y="110"/>
                  </a:cubicBezTo>
                  <a:cubicBezTo>
                    <a:pt x="30" y="122"/>
                    <a:pt x="37" y="135"/>
                    <a:pt x="41" y="144"/>
                  </a:cubicBezTo>
                  <a:cubicBezTo>
                    <a:pt x="52" y="166"/>
                    <a:pt x="67" y="189"/>
                    <a:pt x="87" y="203"/>
                  </a:cubicBezTo>
                  <a:cubicBezTo>
                    <a:pt x="88" y="203"/>
                    <a:pt x="88" y="203"/>
                    <a:pt x="88" y="203"/>
                  </a:cubicBezTo>
                  <a:cubicBezTo>
                    <a:pt x="71" y="230"/>
                    <a:pt x="64" y="263"/>
                    <a:pt x="56" y="293"/>
                  </a:cubicBezTo>
                  <a:cubicBezTo>
                    <a:pt x="52" y="309"/>
                    <a:pt x="40" y="334"/>
                    <a:pt x="36" y="355"/>
                  </a:cubicBezTo>
                  <a:cubicBezTo>
                    <a:pt x="51" y="355"/>
                    <a:pt x="51" y="355"/>
                    <a:pt x="51" y="355"/>
                  </a:cubicBezTo>
                  <a:cubicBezTo>
                    <a:pt x="51" y="355"/>
                    <a:pt x="51" y="354"/>
                    <a:pt x="51" y="353"/>
                  </a:cubicBezTo>
                  <a:cubicBezTo>
                    <a:pt x="55" y="337"/>
                    <a:pt x="61" y="321"/>
                    <a:pt x="67" y="305"/>
                  </a:cubicBezTo>
                  <a:cubicBezTo>
                    <a:pt x="79" y="270"/>
                    <a:pt x="97" y="238"/>
                    <a:pt x="110" y="203"/>
                  </a:cubicBezTo>
                  <a:cubicBezTo>
                    <a:pt x="121" y="203"/>
                    <a:pt x="131" y="201"/>
                    <a:pt x="140" y="197"/>
                  </a:cubicBezTo>
                  <a:cubicBezTo>
                    <a:pt x="140" y="198"/>
                    <a:pt x="141" y="199"/>
                    <a:pt x="141" y="200"/>
                  </a:cubicBezTo>
                  <a:cubicBezTo>
                    <a:pt x="145" y="210"/>
                    <a:pt x="152" y="217"/>
                    <a:pt x="158" y="225"/>
                  </a:cubicBezTo>
                  <a:cubicBezTo>
                    <a:pt x="164" y="234"/>
                    <a:pt x="170" y="242"/>
                    <a:pt x="178" y="249"/>
                  </a:cubicBezTo>
                  <a:cubicBezTo>
                    <a:pt x="178" y="250"/>
                    <a:pt x="178" y="249"/>
                    <a:pt x="178" y="249"/>
                  </a:cubicBezTo>
                  <a:cubicBezTo>
                    <a:pt x="176" y="240"/>
                    <a:pt x="173" y="233"/>
                    <a:pt x="169" y="224"/>
                  </a:cubicBezTo>
                  <a:cubicBezTo>
                    <a:pt x="165" y="215"/>
                    <a:pt x="163" y="205"/>
                    <a:pt x="159" y="195"/>
                  </a:cubicBezTo>
                  <a:cubicBezTo>
                    <a:pt x="158" y="193"/>
                    <a:pt x="157" y="192"/>
                    <a:pt x="156" y="191"/>
                  </a:cubicBezTo>
                  <a:cubicBezTo>
                    <a:pt x="157" y="190"/>
                    <a:pt x="159" y="190"/>
                    <a:pt x="160" y="189"/>
                  </a:cubicBezTo>
                  <a:cubicBezTo>
                    <a:pt x="168" y="203"/>
                    <a:pt x="179" y="215"/>
                    <a:pt x="188" y="229"/>
                  </a:cubicBezTo>
                  <a:cubicBezTo>
                    <a:pt x="200" y="247"/>
                    <a:pt x="209" y="267"/>
                    <a:pt x="217" y="287"/>
                  </a:cubicBezTo>
                  <a:cubicBezTo>
                    <a:pt x="223" y="303"/>
                    <a:pt x="228" y="319"/>
                    <a:pt x="233" y="336"/>
                  </a:cubicBezTo>
                  <a:cubicBezTo>
                    <a:pt x="235" y="342"/>
                    <a:pt x="236" y="349"/>
                    <a:pt x="238" y="355"/>
                  </a:cubicBezTo>
                  <a:cubicBezTo>
                    <a:pt x="255" y="355"/>
                    <a:pt x="255" y="355"/>
                    <a:pt x="255" y="355"/>
                  </a:cubicBezTo>
                  <a:cubicBezTo>
                    <a:pt x="253" y="347"/>
                    <a:pt x="250" y="339"/>
                    <a:pt x="248" y="331"/>
                  </a:cubicBezTo>
                  <a:cubicBezTo>
                    <a:pt x="243" y="310"/>
                    <a:pt x="236" y="289"/>
                    <a:pt x="228" y="26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37" name="Google Shape;443;p3">
              <a:extLst>
                <a:ext uri="{FF2B5EF4-FFF2-40B4-BE49-F238E27FC236}">
                  <a16:creationId xmlns:a16="http://schemas.microsoft.com/office/drawing/2014/main" id="{332C2DCC-1845-A8F4-9A30-7F33BAD10DD0}"/>
                </a:ext>
              </a:extLst>
            </p:cNvPr>
            <p:cNvSpPr/>
            <p:nvPr/>
          </p:nvSpPr>
          <p:spPr>
            <a:xfrm>
              <a:off x="4975225" y="4244976"/>
              <a:ext cx="209550" cy="311150"/>
            </a:xfrm>
            <a:custGeom>
              <a:avLst/>
              <a:gdLst/>
              <a:ahLst/>
              <a:cxnLst/>
              <a:rect l="l" t="t" r="r" b="b"/>
              <a:pathLst>
                <a:path w="124" h="185" extrusionOk="0">
                  <a:moveTo>
                    <a:pt x="7" y="93"/>
                  </a:moveTo>
                  <a:cubicBezTo>
                    <a:pt x="12" y="123"/>
                    <a:pt x="24" y="163"/>
                    <a:pt x="48" y="184"/>
                  </a:cubicBezTo>
                  <a:cubicBezTo>
                    <a:pt x="49" y="185"/>
                    <a:pt x="51" y="184"/>
                    <a:pt x="51" y="183"/>
                  </a:cubicBezTo>
                  <a:cubicBezTo>
                    <a:pt x="50" y="156"/>
                    <a:pt x="32" y="129"/>
                    <a:pt x="24" y="104"/>
                  </a:cubicBezTo>
                  <a:cubicBezTo>
                    <a:pt x="24" y="103"/>
                    <a:pt x="24" y="103"/>
                    <a:pt x="24" y="102"/>
                  </a:cubicBezTo>
                  <a:cubicBezTo>
                    <a:pt x="50" y="121"/>
                    <a:pt x="113" y="99"/>
                    <a:pt x="124" y="72"/>
                  </a:cubicBezTo>
                  <a:cubicBezTo>
                    <a:pt x="124" y="71"/>
                    <a:pt x="123" y="70"/>
                    <a:pt x="122" y="71"/>
                  </a:cubicBezTo>
                  <a:cubicBezTo>
                    <a:pt x="98" y="89"/>
                    <a:pt x="49" y="110"/>
                    <a:pt x="21" y="90"/>
                  </a:cubicBezTo>
                  <a:cubicBezTo>
                    <a:pt x="18" y="77"/>
                    <a:pt x="16" y="64"/>
                    <a:pt x="15" y="51"/>
                  </a:cubicBezTo>
                  <a:cubicBezTo>
                    <a:pt x="19" y="48"/>
                    <a:pt x="22" y="44"/>
                    <a:pt x="27" y="40"/>
                  </a:cubicBezTo>
                  <a:cubicBezTo>
                    <a:pt x="37" y="33"/>
                    <a:pt x="50" y="31"/>
                    <a:pt x="61" y="31"/>
                  </a:cubicBezTo>
                  <a:cubicBezTo>
                    <a:pt x="76" y="30"/>
                    <a:pt x="97" y="32"/>
                    <a:pt x="108" y="43"/>
                  </a:cubicBezTo>
                  <a:cubicBezTo>
                    <a:pt x="111" y="46"/>
                    <a:pt x="117" y="42"/>
                    <a:pt x="114" y="38"/>
                  </a:cubicBezTo>
                  <a:cubicBezTo>
                    <a:pt x="102" y="18"/>
                    <a:pt x="52" y="14"/>
                    <a:pt x="25" y="28"/>
                  </a:cubicBezTo>
                  <a:cubicBezTo>
                    <a:pt x="27" y="25"/>
                    <a:pt x="29" y="23"/>
                    <a:pt x="32" y="21"/>
                  </a:cubicBezTo>
                  <a:cubicBezTo>
                    <a:pt x="45" y="8"/>
                    <a:pt x="63" y="7"/>
                    <a:pt x="80" y="10"/>
                  </a:cubicBezTo>
                  <a:cubicBezTo>
                    <a:pt x="80" y="10"/>
                    <a:pt x="80" y="10"/>
                    <a:pt x="80" y="9"/>
                  </a:cubicBezTo>
                  <a:cubicBezTo>
                    <a:pt x="66" y="0"/>
                    <a:pt x="44" y="6"/>
                    <a:pt x="30" y="13"/>
                  </a:cubicBezTo>
                  <a:cubicBezTo>
                    <a:pt x="26" y="15"/>
                    <a:pt x="19" y="19"/>
                    <a:pt x="14" y="25"/>
                  </a:cubicBezTo>
                  <a:cubicBezTo>
                    <a:pt x="14" y="21"/>
                    <a:pt x="14" y="17"/>
                    <a:pt x="15" y="13"/>
                  </a:cubicBezTo>
                  <a:cubicBezTo>
                    <a:pt x="15" y="12"/>
                    <a:pt x="14" y="12"/>
                    <a:pt x="14" y="12"/>
                  </a:cubicBezTo>
                  <a:cubicBezTo>
                    <a:pt x="0" y="35"/>
                    <a:pt x="3" y="68"/>
                    <a:pt x="7" y="9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38" name="Google Shape;444;p3">
              <a:extLst>
                <a:ext uri="{FF2B5EF4-FFF2-40B4-BE49-F238E27FC236}">
                  <a16:creationId xmlns:a16="http://schemas.microsoft.com/office/drawing/2014/main" id="{0E43D17F-046E-90C7-1EEB-097596839FF2}"/>
                </a:ext>
              </a:extLst>
            </p:cNvPr>
            <p:cNvSpPr/>
            <p:nvPr/>
          </p:nvSpPr>
          <p:spPr>
            <a:xfrm>
              <a:off x="4808538" y="4581526"/>
              <a:ext cx="265113" cy="73025"/>
            </a:xfrm>
            <a:custGeom>
              <a:avLst/>
              <a:gdLst/>
              <a:ahLst/>
              <a:cxnLst/>
              <a:rect l="l" t="t" r="r" b="b"/>
              <a:pathLst>
                <a:path w="157" h="43" extrusionOk="0">
                  <a:moveTo>
                    <a:pt x="76" y="25"/>
                  </a:moveTo>
                  <a:cubicBezTo>
                    <a:pt x="57" y="24"/>
                    <a:pt x="26" y="25"/>
                    <a:pt x="14" y="6"/>
                  </a:cubicBezTo>
                  <a:cubicBezTo>
                    <a:pt x="11" y="0"/>
                    <a:pt x="0" y="2"/>
                    <a:pt x="1" y="10"/>
                  </a:cubicBezTo>
                  <a:cubicBezTo>
                    <a:pt x="1" y="40"/>
                    <a:pt x="43" y="43"/>
                    <a:pt x="65" y="43"/>
                  </a:cubicBezTo>
                  <a:cubicBezTo>
                    <a:pt x="94" y="42"/>
                    <a:pt x="138" y="31"/>
                    <a:pt x="156" y="7"/>
                  </a:cubicBezTo>
                  <a:cubicBezTo>
                    <a:pt x="157" y="6"/>
                    <a:pt x="155" y="6"/>
                    <a:pt x="155" y="6"/>
                  </a:cubicBezTo>
                  <a:cubicBezTo>
                    <a:pt x="131" y="25"/>
                    <a:pt x="105" y="26"/>
                    <a:pt x="76" y="2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39" name="Google Shape;445;p3">
              <a:extLst>
                <a:ext uri="{FF2B5EF4-FFF2-40B4-BE49-F238E27FC236}">
                  <a16:creationId xmlns:a16="http://schemas.microsoft.com/office/drawing/2014/main" id="{5759684E-E51E-8EDF-EFFB-9C90AF5A50CD}"/>
                </a:ext>
              </a:extLst>
            </p:cNvPr>
            <p:cNvSpPr/>
            <p:nvPr/>
          </p:nvSpPr>
          <p:spPr>
            <a:xfrm>
              <a:off x="4856163" y="4779963"/>
              <a:ext cx="271463" cy="117475"/>
            </a:xfrm>
            <a:custGeom>
              <a:avLst/>
              <a:gdLst/>
              <a:ahLst/>
              <a:cxnLst/>
              <a:rect l="l" t="t" r="r" b="b"/>
              <a:pathLst>
                <a:path w="161" h="70" extrusionOk="0">
                  <a:moveTo>
                    <a:pt x="145" y="5"/>
                  </a:moveTo>
                  <a:cubicBezTo>
                    <a:pt x="126" y="31"/>
                    <a:pt x="94" y="50"/>
                    <a:pt x="61" y="51"/>
                  </a:cubicBezTo>
                  <a:cubicBezTo>
                    <a:pt x="48" y="52"/>
                    <a:pt x="34" y="51"/>
                    <a:pt x="21" y="48"/>
                  </a:cubicBezTo>
                  <a:cubicBezTo>
                    <a:pt x="17" y="48"/>
                    <a:pt x="11" y="42"/>
                    <a:pt x="8" y="42"/>
                  </a:cubicBezTo>
                  <a:cubicBezTo>
                    <a:pt x="7" y="42"/>
                    <a:pt x="6" y="42"/>
                    <a:pt x="6" y="43"/>
                  </a:cubicBezTo>
                  <a:cubicBezTo>
                    <a:pt x="3" y="44"/>
                    <a:pt x="2" y="45"/>
                    <a:pt x="1" y="48"/>
                  </a:cubicBezTo>
                  <a:cubicBezTo>
                    <a:pt x="0" y="70"/>
                    <a:pt x="54" y="69"/>
                    <a:pt x="67" y="67"/>
                  </a:cubicBezTo>
                  <a:cubicBezTo>
                    <a:pt x="93" y="64"/>
                    <a:pt x="161" y="44"/>
                    <a:pt x="157" y="8"/>
                  </a:cubicBezTo>
                  <a:cubicBezTo>
                    <a:pt x="156" y="2"/>
                    <a:pt x="149" y="0"/>
                    <a:pt x="145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40" name="Google Shape;446;p3">
              <a:extLst>
                <a:ext uri="{FF2B5EF4-FFF2-40B4-BE49-F238E27FC236}">
                  <a16:creationId xmlns:a16="http://schemas.microsoft.com/office/drawing/2014/main" id="{E142FF6C-BC74-5784-B0B2-E6B5C6EE7A44}"/>
                </a:ext>
              </a:extLst>
            </p:cNvPr>
            <p:cNvSpPr/>
            <p:nvPr/>
          </p:nvSpPr>
          <p:spPr>
            <a:xfrm>
              <a:off x="4997450" y="4117976"/>
              <a:ext cx="254000" cy="171450"/>
            </a:xfrm>
            <a:custGeom>
              <a:avLst/>
              <a:gdLst/>
              <a:ahLst/>
              <a:cxnLst/>
              <a:rect l="l" t="t" r="r" b="b"/>
              <a:pathLst>
                <a:path w="151" h="102" extrusionOk="0">
                  <a:moveTo>
                    <a:pt x="2" y="62"/>
                  </a:moveTo>
                  <a:cubicBezTo>
                    <a:pt x="25" y="49"/>
                    <a:pt x="45" y="48"/>
                    <a:pt x="70" y="57"/>
                  </a:cubicBezTo>
                  <a:cubicBezTo>
                    <a:pt x="84" y="62"/>
                    <a:pt x="96" y="70"/>
                    <a:pt x="106" y="80"/>
                  </a:cubicBezTo>
                  <a:cubicBezTo>
                    <a:pt x="113" y="86"/>
                    <a:pt x="117" y="95"/>
                    <a:pt x="124" y="100"/>
                  </a:cubicBezTo>
                  <a:cubicBezTo>
                    <a:pt x="125" y="101"/>
                    <a:pt x="127" y="102"/>
                    <a:pt x="128" y="100"/>
                  </a:cubicBezTo>
                  <a:cubicBezTo>
                    <a:pt x="151" y="57"/>
                    <a:pt x="4" y="0"/>
                    <a:pt x="0" y="61"/>
                  </a:cubicBezTo>
                  <a:cubicBezTo>
                    <a:pt x="0" y="62"/>
                    <a:pt x="1" y="62"/>
                    <a:pt x="2" y="6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41" name="Google Shape;447;p3">
              <a:extLst>
                <a:ext uri="{FF2B5EF4-FFF2-40B4-BE49-F238E27FC236}">
                  <a16:creationId xmlns:a16="http://schemas.microsoft.com/office/drawing/2014/main" id="{3D1CF482-0FD6-697D-5AEF-CFCBF300A798}"/>
                </a:ext>
              </a:extLst>
            </p:cNvPr>
            <p:cNvSpPr/>
            <p:nvPr/>
          </p:nvSpPr>
          <p:spPr>
            <a:xfrm>
              <a:off x="4625975" y="4175126"/>
              <a:ext cx="163513" cy="111125"/>
            </a:xfrm>
            <a:custGeom>
              <a:avLst/>
              <a:gdLst/>
              <a:ahLst/>
              <a:cxnLst/>
              <a:rect l="l" t="t" r="r" b="b"/>
              <a:pathLst>
                <a:path w="97" h="66" extrusionOk="0">
                  <a:moveTo>
                    <a:pt x="71" y="25"/>
                  </a:moveTo>
                  <a:cubicBezTo>
                    <a:pt x="80" y="23"/>
                    <a:pt x="88" y="23"/>
                    <a:pt x="95" y="17"/>
                  </a:cubicBezTo>
                  <a:cubicBezTo>
                    <a:pt x="97" y="15"/>
                    <a:pt x="96" y="12"/>
                    <a:pt x="94" y="11"/>
                  </a:cubicBezTo>
                  <a:cubicBezTo>
                    <a:pt x="78" y="0"/>
                    <a:pt x="53" y="13"/>
                    <a:pt x="38" y="22"/>
                  </a:cubicBezTo>
                  <a:cubicBezTo>
                    <a:pt x="26" y="29"/>
                    <a:pt x="3" y="43"/>
                    <a:pt x="0" y="59"/>
                  </a:cubicBezTo>
                  <a:cubicBezTo>
                    <a:pt x="0" y="61"/>
                    <a:pt x="0" y="63"/>
                    <a:pt x="2" y="64"/>
                  </a:cubicBezTo>
                  <a:cubicBezTo>
                    <a:pt x="2" y="64"/>
                    <a:pt x="4" y="66"/>
                    <a:pt x="5" y="65"/>
                  </a:cubicBezTo>
                  <a:cubicBezTo>
                    <a:pt x="9" y="64"/>
                    <a:pt x="9" y="61"/>
                    <a:pt x="13" y="57"/>
                  </a:cubicBezTo>
                  <a:cubicBezTo>
                    <a:pt x="19" y="50"/>
                    <a:pt x="32" y="43"/>
                    <a:pt x="41" y="38"/>
                  </a:cubicBezTo>
                  <a:cubicBezTo>
                    <a:pt x="50" y="32"/>
                    <a:pt x="61" y="28"/>
                    <a:pt x="71" y="2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42" name="Google Shape;448;p3">
              <a:extLst>
                <a:ext uri="{FF2B5EF4-FFF2-40B4-BE49-F238E27FC236}">
                  <a16:creationId xmlns:a16="http://schemas.microsoft.com/office/drawing/2014/main" id="{853A4B23-F8A8-1FA9-F433-0ADC4D12F8A4}"/>
                </a:ext>
              </a:extLst>
            </p:cNvPr>
            <p:cNvSpPr/>
            <p:nvPr/>
          </p:nvSpPr>
          <p:spPr>
            <a:xfrm>
              <a:off x="4645025" y="4232276"/>
              <a:ext cx="249238" cy="330200"/>
            </a:xfrm>
            <a:custGeom>
              <a:avLst/>
              <a:gdLst/>
              <a:ahLst/>
              <a:cxnLst/>
              <a:rect l="l" t="t" r="r" b="b"/>
              <a:pathLst>
                <a:path w="148" h="197" extrusionOk="0">
                  <a:moveTo>
                    <a:pt x="18" y="64"/>
                  </a:moveTo>
                  <a:cubicBezTo>
                    <a:pt x="25" y="46"/>
                    <a:pt x="43" y="38"/>
                    <a:pt x="61" y="34"/>
                  </a:cubicBezTo>
                  <a:cubicBezTo>
                    <a:pt x="77" y="30"/>
                    <a:pt x="91" y="34"/>
                    <a:pt x="104" y="40"/>
                  </a:cubicBezTo>
                  <a:cubicBezTo>
                    <a:pt x="77" y="37"/>
                    <a:pt x="44" y="49"/>
                    <a:pt x="31" y="66"/>
                  </a:cubicBezTo>
                  <a:cubicBezTo>
                    <a:pt x="30" y="66"/>
                    <a:pt x="31" y="67"/>
                    <a:pt x="31" y="66"/>
                  </a:cubicBezTo>
                  <a:cubicBezTo>
                    <a:pt x="53" y="47"/>
                    <a:pt x="106" y="40"/>
                    <a:pt x="127" y="61"/>
                  </a:cubicBezTo>
                  <a:cubicBezTo>
                    <a:pt x="128" y="61"/>
                    <a:pt x="129" y="62"/>
                    <a:pt x="129" y="62"/>
                  </a:cubicBezTo>
                  <a:cubicBezTo>
                    <a:pt x="130" y="71"/>
                    <a:pt x="130" y="80"/>
                    <a:pt x="130" y="89"/>
                  </a:cubicBezTo>
                  <a:cubicBezTo>
                    <a:pt x="130" y="90"/>
                    <a:pt x="129" y="92"/>
                    <a:pt x="129" y="93"/>
                  </a:cubicBezTo>
                  <a:cubicBezTo>
                    <a:pt x="129" y="93"/>
                    <a:pt x="128" y="92"/>
                    <a:pt x="126" y="93"/>
                  </a:cubicBezTo>
                  <a:cubicBezTo>
                    <a:pt x="112" y="99"/>
                    <a:pt x="100" y="107"/>
                    <a:pt x="84" y="111"/>
                  </a:cubicBezTo>
                  <a:cubicBezTo>
                    <a:pt x="62" y="116"/>
                    <a:pt x="21" y="114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1" y="99"/>
                    <a:pt x="37" y="120"/>
                    <a:pt x="51" y="124"/>
                  </a:cubicBezTo>
                  <a:cubicBezTo>
                    <a:pt x="70" y="129"/>
                    <a:pt x="120" y="123"/>
                    <a:pt x="129" y="101"/>
                  </a:cubicBezTo>
                  <a:cubicBezTo>
                    <a:pt x="125" y="132"/>
                    <a:pt x="114" y="161"/>
                    <a:pt x="109" y="193"/>
                  </a:cubicBezTo>
                  <a:cubicBezTo>
                    <a:pt x="108" y="195"/>
                    <a:pt x="111" y="197"/>
                    <a:pt x="113" y="195"/>
                  </a:cubicBezTo>
                  <a:cubicBezTo>
                    <a:pt x="126" y="181"/>
                    <a:pt x="130" y="159"/>
                    <a:pt x="136" y="141"/>
                  </a:cubicBezTo>
                  <a:cubicBezTo>
                    <a:pt x="143" y="122"/>
                    <a:pt x="146" y="103"/>
                    <a:pt x="147" y="82"/>
                  </a:cubicBezTo>
                  <a:cubicBezTo>
                    <a:pt x="148" y="55"/>
                    <a:pt x="139" y="10"/>
                    <a:pt x="109" y="0"/>
                  </a:cubicBezTo>
                  <a:cubicBezTo>
                    <a:pt x="107" y="0"/>
                    <a:pt x="105" y="2"/>
                    <a:pt x="106" y="4"/>
                  </a:cubicBezTo>
                  <a:cubicBezTo>
                    <a:pt x="114" y="15"/>
                    <a:pt x="123" y="24"/>
                    <a:pt x="126" y="38"/>
                  </a:cubicBezTo>
                  <a:cubicBezTo>
                    <a:pt x="127" y="41"/>
                    <a:pt x="127" y="45"/>
                    <a:pt x="128" y="48"/>
                  </a:cubicBezTo>
                  <a:cubicBezTo>
                    <a:pt x="127" y="48"/>
                    <a:pt x="127" y="48"/>
                    <a:pt x="126" y="47"/>
                  </a:cubicBezTo>
                  <a:cubicBezTo>
                    <a:pt x="122" y="22"/>
                    <a:pt x="75" y="20"/>
                    <a:pt x="55" y="25"/>
                  </a:cubicBezTo>
                  <a:cubicBezTo>
                    <a:pt x="44" y="27"/>
                    <a:pt x="0" y="48"/>
                    <a:pt x="18" y="64"/>
                  </a:cubicBezTo>
                  <a:cubicBezTo>
                    <a:pt x="18" y="64"/>
                    <a:pt x="18" y="64"/>
                    <a:pt x="18" y="6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43" name="Google Shape;449;p3">
              <a:extLst>
                <a:ext uri="{FF2B5EF4-FFF2-40B4-BE49-F238E27FC236}">
                  <a16:creationId xmlns:a16="http://schemas.microsoft.com/office/drawing/2014/main" id="{8200D6D4-37DA-B591-C98F-E70665F0B569}"/>
                </a:ext>
              </a:extLst>
            </p:cNvPr>
            <p:cNvSpPr/>
            <p:nvPr/>
          </p:nvSpPr>
          <p:spPr>
            <a:xfrm>
              <a:off x="5048250" y="4302126"/>
              <a:ext cx="73025" cy="87313"/>
            </a:xfrm>
            <a:custGeom>
              <a:avLst/>
              <a:gdLst/>
              <a:ahLst/>
              <a:cxnLst/>
              <a:rect l="l" t="t" r="r" b="b"/>
              <a:pathLst>
                <a:path w="43" h="52" extrusionOk="0">
                  <a:moveTo>
                    <a:pt x="23" y="20"/>
                  </a:moveTo>
                  <a:cubicBezTo>
                    <a:pt x="26" y="18"/>
                    <a:pt x="28" y="19"/>
                    <a:pt x="32" y="18"/>
                  </a:cubicBezTo>
                  <a:cubicBezTo>
                    <a:pt x="38" y="18"/>
                    <a:pt x="40" y="9"/>
                    <a:pt x="36" y="6"/>
                  </a:cubicBezTo>
                  <a:cubicBezTo>
                    <a:pt x="29" y="0"/>
                    <a:pt x="19" y="2"/>
                    <a:pt x="13" y="6"/>
                  </a:cubicBezTo>
                  <a:cubicBezTo>
                    <a:pt x="6" y="11"/>
                    <a:pt x="2" y="18"/>
                    <a:pt x="1" y="26"/>
                  </a:cubicBezTo>
                  <a:cubicBezTo>
                    <a:pt x="0" y="34"/>
                    <a:pt x="2" y="42"/>
                    <a:pt x="9" y="47"/>
                  </a:cubicBezTo>
                  <a:cubicBezTo>
                    <a:pt x="17" y="52"/>
                    <a:pt x="29" y="49"/>
                    <a:pt x="36" y="45"/>
                  </a:cubicBezTo>
                  <a:cubicBezTo>
                    <a:pt x="43" y="42"/>
                    <a:pt x="43" y="32"/>
                    <a:pt x="39" y="27"/>
                  </a:cubicBezTo>
                  <a:cubicBezTo>
                    <a:pt x="33" y="21"/>
                    <a:pt x="25" y="24"/>
                    <a:pt x="20" y="30"/>
                  </a:cubicBezTo>
                  <a:cubicBezTo>
                    <a:pt x="21" y="28"/>
                    <a:pt x="21" y="28"/>
                    <a:pt x="20" y="30"/>
                  </a:cubicBezTo>
                  <a:cubicBezTo>
                    <a:pt x="20" y="30"/>
                    <a:pt x="20" y="30"/>
                    <a:pt x="19" y="31"/>
                  </a:cubicBezTo>
                  <a:cubicBezTo>
                    <a:pt x="19" y="31"/>
                    <a:pt x="19" y="31"/>
                    <a:pt x="18" y="31"/>
                  </a:cubicBezTo>
                  <a:cubicBezTo>
                    <a:pt x="18" y="31"/>
                    <a:pt x="18" y="30"/>
                    <a:pt x="18" y="30"/>
                  </a:cubicBezTo>
                  <a:cubicBezTo>
                    <a:pt x="18" y="28"/>
                    <a:pt x="18" y="28"/>
                    <a:pt x="19" y="26"/>
                  </a:cubicBezTo>
                  <a:cubicBezTo>
                    <a:pt x="19" y="24"/>
                    <a:pt x="21" y="21"/>
                    <a:pt x="23" y="2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44" name="Google Shape;450;p3">
              <a:extLst>
                <a:ext uri="{FF2B5EF4-FFF2-40B4-BE49-F238E27FC236}">
                  <a16:creationId xmlns:a16="http://schemas.microsoft.com/office/drawing/2014/main" id="{67B46AE2-9A99-E617-6D3B-5889E31A382E}"/>
                </a:ext>
              </a:extLst>
            </p:cNvPr>
            <p:cNvSpPr/>
            <p:nvPr/>
          </p:nvSpPr>
          <p:spPr>
            <a:xfrm>
              <a:off x="4737100" y="4316413"/>
              <a:ext cx="90488" cy="77788"/>
            </a:xfrm>
            <a:custGeom>
              <a:avLst/>
              <a:gdLst/>
              <a:ahLst/>
              <a:cxnLst/>
              <a:rect l="l" t="t" r="r" b="b"/>
              <a:pathLst>
                <a:path w="54" h="47" extrusionOk="0">
                  <a:moveTo>
                    <a:pt x="21" y="22"/>
                  </a:moveTo>
                  <a:cubicBezTo>
                    <a:pt x="23" y="20"/>
                    <a:pt x="25" y="20"/>
                    <a:pt x="27" y="19"/>
                  </a:cubicBezTo>
                  <a:cubicBezTo>
                    <a:pt x="30" y="18"/>
                    <a:pt x="32" y="19"/>
                    <a:pt x="34" y="18"/>
                  </a:cubicBezTo>
                  <a:cubicBezTo>
                    <a:pt x="38" y="17"/>
                    <a:pt x="40" y="12"/>
                    <a:pt x="38" y="9"/>
                  </a:cubicBezTo>
                  <a:cubicBezTo>
                    <a:pt x="33" y="0"/>
                    <a:pt x="20" y="4"/>
                    <a:pt x="13" y="7"/>
                  </a:cubicBezTo>
                  <a:cubicBezTo>
                    <a:pt x="4" y="12"/>
                    <a:pt x="0" y="21"/>
                    <a:pt x="1" y="30"/>
                  </a:cubicBezTo>
                  <a:cubicBezTo>
                    <a:pt x="4" y="47"/>
                    <a:pt x="28" y="47"/>
                    <a:pt x="40" y="42"/>
                  </a:cubicBezTo>
                  <a:cubicBezTo>
                    <a:pt x="48" y="41"/>
                    <a:pt x="54" y="32"/>
                    <a:pt x="49" y="24"/>
                  </a:cubicBezTo>
                  <a:cubicBezTo>
                    <a:pt x="44" y="16"/>
                    <a:pt x="33" y="16"/>
                    <a:pt x="28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3"/>
                    <a:pt x="26" y="24"/>
                    <a:pt x="25" y="24"/>
                  </a:cubicBezTo>
                  <a:cubicBezTo>
                    <a:pt x="24" y="24"/>
                    <a:pt x="24" y="25"/>
                    <a:pt x="23" y="25"/>
                  </a:cubicBezTo>
                  <a:cubicBezTo>
                    <a:pt x="22" y="25"/>
                    <a:pt x="21" y="25"/>
                    <a:pt x="20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6"/>
                    <a:pt x="19" y="26"/>
                    <a:pt x="19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4"/>
                    <a:pt x="19" y="23"/>
                    <a:pt x="21" y="22"/>
                  </a:cubicBezTo>
                  <a:close/>
                  <a:moveTo>
                    <a:pt x="18" y="25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45" name="Google Shape;451;p3">
              <a:extLst>
                <a:ext uri="{FF2B5EF4-FFF2-40B4-BE49-F238E27FC236}">
                  <a16:creationId xmlns:a16="http://schemas.microsoft.com/office/drawing/2014/main" id="{D9FE10A6-6CA2-B8BF-BF3F-38BCB6A6E7A1}"/>
                </a:ext>
              </a:extLst>
            </p:cNvPr>
            <p:cNvSpPr/>
            <p:nvPr/>
          </p:nvSpPr>
          <p:spPr>
            <a:xfrm>
              <a:off x="5243513" y="4524376"/>
              <a:ext cx="101600" cy="66675"/>
            </a:xfrm>
            <a:custGeom>
              <a:avLst/>
              <a:gdLst/>
              <a:ahLst/>
              <a:cxnLst/>
              <a:rect l="l" t="t" r="r" b="b"/>
              <a:pathLst>
                <a:path w="60" h="40" extrusionOk="0">
                  <a:moveTo>
                    <a:pt x="52" y="38"/>
                  </a:moveTo>
                  <a:cubicBezTo>
                    <a:pt x="58" y="40"/>
                    <a:pt x="60" y="33"/>
                    <a:pt x="60" y="28"/>
                  </a:cubicBezTo>
                  <a:cubicBezTo>
                    <a:pt x="60" y="14"/>
                    <a:pt x="43" y="4"/>
                    <a:pt x="31" y="2"/>
                  </a:cubicBezTo>
                  <a:cubicBezTo>
                    <a:pt x="17" y="0"/>
                    <a:pt x="5" y="5"/>
                    <a:pt x="0" y="18"/>
                  </a:cubicBezTo>
                  <a:cubicBezTo>
                    <a:pt x="0" y="19"/>
                    <a:pt x="1" y="20"/>
                    <a:pt x="2" y="20"/>
                  </a:cubicBezTo>
                  <a:cubicBezTo>
                    <a:pt x="13" y="12"/>
                    <a:pt x="32" y="14"/>
                    <a:pt x="42" y="23"/>
                  </a:cubicBezTo>
                  <a:cubicBezTo>
                    <a:pt x="46" y="27"/>
                    <a:pt x="46" y="36"/>
                    <a:pt x="52" y="3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sp>
          <p:nvSpPr>
            <p:cNvPr id="2146" name="Google Shape;452;p3">
              <a:extLst>
                <a:ext uri="{FF2B5EF4-FFF2-40B4-BE49-F238E27FC236}">
                  <a16:creationId xmlns:a16="http://schemas.microsoft.com/office/drawing/2014/main" id="{5B53E476-A6C8-E40C-8991-22623361D803}"/>
                </a:ext>
              </a:extLst>
            </p:cNvPr>
            <p:cNvSpPr/>
            <p:nvPr/>
          </p:nvSpPr>
          <p:spPr>
            <a:xfrm>
              <a:off x="4664075" y="4630738"/>
              <a:ext cx="641350" cy="146050"/>
            </a:xfrm>
            <a:custGeom>
              <a:avLst/>
              <a:gdLst/>
              <a:ahLst/>
              <a:cxnLst/>
              <a:rect l="l" t="t" r="r" b="b"/>
              <a:pathLst>
                <a:path w="381" h="87" extrusionOk="0">
                  <a:moveTo>
                    <a:pt x="350" y="40"/>
                  </a:moveTo>
                  <a:cubicBezTo>
                    <a:pt x="365" y="33"/>
                    <a:pt x="381" y="12"/>
                    <a:pt x="362" y="0"/>
                  </a:cubicBezTo>
                  <a:cubicBezTo>
                    <a:pt x="361" y="0"/>
                    <a:pt x="360" y="1"/>
                    <a:pt x="360" y="2"/>
                  </a:cubicBezTo>
                  <a:cubicBezTo>
                    <a:pt x="371" y="44"/>
                    <a:pt x="287" y="41"/>
                    <a:pt x="267" y="41"/>
                  </a:cubicBezTo>
                  <a:cubicBezTo>
                    <a:pt x="242" y="41"/>
                    <a:pt x="221" y="46"/>
                    <a:pt x="200" y="58"/>
                  </a:cubicBezTo>
                  <a:cubicBezTo>
                    <a:pt x="173" y="74"/>
                    <a:pt x="141" y="59"/>
                    <a:pt x="112" y="64"/>
                  </a:cubicBezTo>
                  <a:cubicBezTo>
                    <a:pt x="77" y="70"/>
                    <a:pt x="44" y="84"/>
                    <a:pt x="9" y="72"/>
                  </a:cubicBezTo>
                  <a:cubicBezTo>
                    <a:pt x="3" y="70"/>
                    <a:pt x="0" y="81"/>
                    <a:pt x="8" y="82"/>
                  </a:cubicBezTo>
                  <a:cubicBezTo>
                    <a:pt x="46" y="87"/>
                    <a:pt x="83" y="77"/>
                    <a:pt x="121" y="76"/>
                  </a:cubicBezTo>
                  <a:cubicBezTo>
                    <a:pt x="136" y="76"/>
                    <a:pt x="156" y="85"/>
                    <a:pt x="170" y="81"/>
                  </a:cubicBezTo>
                  <a:cubicBezTo>
                    <a:pt x="193" y="74"/>
                    <a:pt x="211" y="59"/>
                    <a:pt x="233" y="52"/>
                  </a:cubicBezTo>
                  <a:cubicBezTo>
                    <a:pt x="255" y="45"/>
                    <a:pt x="280" y="47"/>
                    <a:pt x="303" y="44"/>
                  </a:cubicBezTo>
                  <a:cubicBezTo>
                    <a:pt x="318" y="43"/>
                    <a:pt x="336" y="46"/>
                    <a:pt x="350" y="4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>
                <a:solidFill>
                  <a:srgbClr val="000000"/>
                </a:solidFill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</p:grpSp>
      <p:sp>
        <p:nvSpPr>
          <p:cNvPr id="2151" name="Google Shape;519;p3">
            <a:extLst>
              <a:ext uri="{FF2B5EF4-FFF2-40B4-BE49-F238E27FC236}">
                <a16:creationId xmlns:a16="http://schemas.microsoft.com/office/drawing/2014/main" id="{0C0D5D41-26A0-4C46-F04B-21E280AF51AB}"/>
              </a:ext>
            </a:extLst>
          </p:cNvPr>
          <p:cNvSpPr/>
          <p:nvPr/>
        </p:nvSpPr>
        <p:spPr>
          <a:xfrm rot="20213888">
            <a:off x="4573289" y="1750218"/>
            <a:ext cx="2699242" cy="2623495"/>
          </a:xfrm>
          <a:custGeom>
            <a:avLst/>
            <a:gdLst/>
            <a:ahLst/>
            <a:cxnLst/>
            <a:rect l="l" t="t" r="r" b="b"/>
            <a:pathLst>
              <a:path w="100" h="129" extrusionOk="0">
                <a:moveTo>
                  <a:pt x="91" y="33"/>
                </a:moveTo>
                <a:cubicBezTo>
                  <a:pt x="90" y="32"/>
                  <a:pt x="90" y="32"/>
                  <a:pt x="90" y="33"/>
                </a:cubicBezTo>
                <a:cubicBezTo>
                  <a:pt x="90" y="33"/>
                  <a:pt x="90" y="34"/>
                  <a:pt x="90" y="35"/>
                </a:cubicBezTo>
                <a:cubicBezTo>
                  <a:pt x="69" y="0"/>
                  <a:pt x="16" y="16"/>
                  <a:pt x="3" y="48"/>
                </a:cubicBezTo>
                <a:cubicBezTo>
                  <a:pt x="3" y="48"/>
                  <a:pt x="3" y="48"/>
                  <a:pt x="3" y="48"/>
                </a:cubicBezTo>
                <a:cubicBezTo>
                  <a:pt x="3" y="48"/>
                  <a:pt x="3" y="48"/>
                  <a:pt x="3" y="48"/>
                </a:cubicBezTo>
                <a:cubicBezTo>
                  <a:pt x="3" y="48"/>
                  <a:pt x="3" y="48"/>
                  <a:pt x="3" y="49"/>
                </a:cubicBezTo>
                <a:cubicBezTo>
                  <a:pt x="2" y="53"/>
                  <a:pt x="1" y="57"/>
                  <a:pt x="0" y="62"/>
                </a:cubicBezTo>
                <a:cubicBezTo>
                  <a:pt x="0" y="66"/>
                  <a:pt x="0" y="69"/>
                  <a:pt x="1" y="72"/>
                </a:cubicBezTo>
                <a:cubicBezTo>
                  <a:pt x="1" y="72"/>
                  <a:pt x="1" y="72"/>
                  <a:pt x="1" y="72"/>
                </a:cubicBezTo>
                <a:cubicBezTo>
                  <a:pt x="1" y="70"/>
                  <a:pt x="0" y="68"/>
                  <a:pt x="0" y="66"/>
                </a:cubicBezTo>
                <a:cubicBezTo>
                  <a:pt x="0" y="65"/>
                  <a:pt x="0" y="65"/>
                  <a:pt x="0" y="64"/>
                </a:cubicBezTo>
                <a:cubicBezTo>
                  <a:pt x="0" y="67"/>
                  <a:pt x="1" y="71"/>
                  <a:pt x="2" y="75"/>
                </a:cubicBezTo>
                <a:cubicBezTo>
                  <a:pt x="6" y="90"/>
                  <a:pt x="19" y="107"/>
                  <a:pt x="36" y="108"/>
                </a:cubicBezTo>
                <a:cubicBezTo>
                  <a:pt x="38" y="111"/>
                  <a:pt x="39" y="115"/>
                  <a:pt x="38" y="119"/>
                </a:cubicBezTo>
                <a:cubicBezTo>
                  <a:pt x="38" y="122"/>
                  <a:pt x="36" y="124"/>
                  <a:pt x="35" y="126"/>
                </a:cubicBezTo>
                <a:cubicBezTo>
                  <a:pt x="34" y="126"/>
                  <a:pt x="34" y="126"/>
                  <a:pt x="34" y="126"/>
                </a:cubicBezTo>
                <a:cubicBezTo>
                  <a:pt x="33" y="126"/>
                  <a:pt x="33" y="127"/>
                  <a:pt x="33" y="127"/>
                </a:cubicBezTo>
                <a:cubicBezTo>
                  <a:pt x="37" y="129"/>
                  <a:pt x="41" y="126"/>
                  <a:pt x="43" y="125"/>
                </a:cubicBezTo>
                <a:cubicBezTo>
                  <a:pt x="46" y="123"/>
                  <a:pt x="47" y="121"/>
                  <a:pt x="49" y="119"/>
                </a:cubicBezTo>
                <a:cubicBezTo>
                  <a:pt x="50" y="118"/>
                  <a:pt x="50" y="117"/>
                  <a:pt x="51" y="115"/>
                </a:cubicBezTo>
                <a:cubicBezTo>
                  <a:pt x="52" y="114"/>
                  <a:pt x="52" y="114"/>
                  <a:pt x="54" y="115"/>
                </a:cubicBezTo>
                <a:cubicBezTo>
                  <a:pt x="65" y="117"/>
                  <a:pt x="76" y="111"/>
                  <a:pt x="83" y="103"/>
                </a:cubicBezTo>
                <a:cubicBezTo>
                  <a:pt x="100" y="85"/>
                  <a:pt x="100" y="54"/>
                  <a:pt x="91" y="33"/>
                </a:cubicBezTo>
                <a:close/>
                <a:moveTo>
                  <a:pt x="51" y="112"/>
                </a:moveTo>
                <a:cubicBezTo>
                  <a:pt x="51" y="112"/>
                  <a:pt x="50" y="112"/>
                  <a:pt x="50" y="113"/>
                </a:cubicBezTo>
                <a:cubicBezTo>
                  <a:pt x="48" y="117"/>
                  <a:pt x="43" y="125"/>
                  <a:pt x="37" y="126"/>
                </a:cubicBezTo>
                <a:cubicBezTo>
                  <a:pt x="39" y="124"/>
                  <a:pt x="40" y="120"/>
                  <a:pt x="40" y="118"/>
                </a:cubicBezTo>
                <a:cubicBezTo>
                  <a:pt x="41" y="114"/>
                  <a:pt x="39" y="111"/>
                  <a:pt x="37" y="108"/>
                </a:cubicBezTo>
                <a:cubicBezTo>
                  <a:pt x="38" y="108"/>
                  <a:pt x="38" y="106"/>
                  <a:pt x="37" y="106"/>
                </a:cubicBezTo>
                <a:cubicBezTo>
                  <a:pt x="31" y="106"/>
                  <a:pt x="26" y="104"/>
                  <a:pt x="21" y="100"/>
                </a:cubicBezTo>
                <a:cubicBezTo>
                  <a:pt x="16" y="97"/>
                  <a:pt x="13" y="93"/>
                  <a:pt x="10" y="88"/>
                </a:cubicBezTo>
                <a:cubicBezTo>
                  <a:pt x="6" y="82"/>
                  <a:pt x="3" y="75"/>
                  <a:pt x="2" y="68"/>
                </a:cubicBezTo>
                <a:cubicBezTo>
                  <a:pt x="0" y="56"/>
                  <a:pt x="5" y="44"/>
                  <a:pt x="13" y="35"/>
                </a:cubicBezTo>
                <a:cubicBezTo>
                  <a:pt x="29" y="17"/>
                  <a:pt x="59" y="10"/>
                  <a:pt x="80" y="25"/>
                </a:cubicBezTo>
                <a:cubicBezTo>
                  <a:pt x="84" y="28"/>
                  <a:pt x="88" y="32"/>
                  <a:pt x="91" y="36"/>
                </a:cubicBezTo>
                <a:cubicBezTo>
                  <a:pt x="96" y="52"/>
                  <a:pt x="97" y="69"/>
                  <a:pt x="92" y="85"/>
                </a:cubicBezTo>
                <a:cubicBezTo>
                  <a:pt x="86" y="102"/>
                  <a:pt x="70" y="117"/>
                  <a:pt x="51" y="112"/>
                </a:cubicBezTo>
                <a:close/>
              </a:path>
            </a:pathLst>
          </a:custGeom>
          <a:solidFill>
            <a:srgbClr val="747678"/>
          </a:solidFill>
          <a:ln>
            <a:noFill/>
          </a:ln>
        </p:spPr>
        <p:txBody>
          <a:bodyPr spcFirstLastPara="1" wrap="square" lIns="74275" tIns="37125" rIns="74275" bIns="371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63" b="1">
              <a:solidFill>
                <a:srgbClr val="1E4E79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152" name="Google Shape;506;p3">
            <a:extLst>
              <a:ext uri="{FF2B5EF4-FFF2-40B4-BE49-F238E27FC236}">
                <a16:creationId xmlns:a16="http://schemas.microsoft.com/office/drawing/2014/main" id="{AD3F0538-B6CC-4D11-CF3D-23224D010476}"/>
              </a:ext>
            </a:extLst>
          </p:cNvPr>
          <p:cNvSpPr/>
          <p:nvPr/>
        </p:nvSpPr>
        <p:spPr>
          <a:xfrm>
            <a:off x="706056" y="1714885"/>
            <a:ext cx="3855469" cy="2690978"/>
          </a:xfrm>
          <a:custGeom>
            <a:avLst/>
            <a:gdLst/>
            <a:ahLst/>
            <a:cxnLst/>
            <a:rect l="l" t="t" r="r" b="b"/>
            <a:pathLst>
              <a:path w="116" h="110" extrusionOk="0">
                <a:moveTo>
                  <a:pt x="113" y="86"/>
                </a:moveTo>
                <a:cubicBezTo>
                  <a:pt x="114" y="84"/>
                  <a:pt x="115" y="82"/>
                  <a:pt x="115" y="79"/>
                </a:cubicBezTo>
                <a:cubicBezTo>
                  <a:pt x="115" y="77"/>
                  <a:pt x="116" y="74"/>
                  <a:pt x="115" y="72"/>
                </a:cubicBezTo>
                <a:cubicBezTo>
                  <a:pt x="114" y="72"/>
                  <a:pt x="114" y="72"/>
                  <a:pt x="114" y="72"/>
                </a:cubicBezTo>
                <a:cubicBezTo>
                  <a:pt x="114" y="73"/>
                  <a:pt x="114" y="73"/>
                  <a:pt x="114" y="73"/>
                </a:cubicBezTo>
                <a:cubicBezTo>
                  <a:pt x="114" y="76"/>
                  <a:pt x="113" y="79"/>
                  <a:pt x="113" y="81"/>
                </a:cubicBezTo>
                <a:cubicBezTo>
                  <a:pt x="113" y="82"/>
                  <a:pt x="112" y="83"/>
                  <a:pt x="112" y="84"/>
                </a:cubicBezTo>
                <a:cubicBezTo>
                  <a:pt x="110" y="86"/>
                  <a:pt x="109" y="89"/>
                  <a:pt x="107" y="91"/>
                </a:cubicBezTo>
                <a:cubicBezTo>
                  <a:pt x="107" y="92"/>
                  <a:pt x="106" y="92"/>
                  <a:pt x="105" y="93"/>
                </a:cubicBezTo>
                <a:cubicBezTo>
                  <a:pt x="104" y="94"/>
                  <a:pt x="102" y="96"/>
                  <a:pt x="101" y="97"/>
                </a:cubicBezTo>
                <a:cubicBezTo>
                  <a:pt x="97" y="99"/>
                  <a:pt x="93" y="101"/>
                  <a:pt x="89" y="102"/>
                </a:cubicBezTo>
                <a:cubicBezTo>
                  <a:pt x="89" y="102"/>
                  <a:pt x="89" y="102"/>
                  <a:pt x="89" y="102"/>
                </a:cubicBezTo>
                <a:cubicBezTo>
                  <a:pt x="89" y="102"/>
                  <a:pt x="89" y="102"/>
                  <a:pt x="89" y="102"/>
                </a:cubicBezTo>
                <a:cubicBezTo>
                  <a:pt x="85" y="103"/>
                  <a:pt x="80" y="103"/>
                  <a:pt x="76" y="102"/>
                </a:cubicBezTo>
                <a:cubicBezTo>
                  <a:pt x="76" y="102"/>
                  <a:pt x="76" y="102"/>
                  <a:pt x="76" y="103"/>
                </a:cubicBezTo>
                <a:cubicBezTo>
                  <a:pt x="76" y="103"/>
                  <a:pt x="77" y="103"/>
                  <a:pt x="77" y="103"/>
                </a:cubicBezTo>
                <a:cubicBezTo>
                  <a:pt x="77" y="103"/>
                  <a:pt x="77" y="103"/>
                  <a:pt x="77" y="103"/>
                </a:cubicBezTo>
                <a:cubicBezTo>
                  <a:pt x="76" y="103"/>
                  <a:pt x="76" y="103"/>
                  <a:pt x="76" y="103"/>
                </a:cubicBezTo>
                <a:cubicBezTo>
                  <a:pt x="75" y="103"/>
                  <a:pt x="74" y="102"/>
                  <a:pt x="73" y="102"/>
                </a:cubicBezTo>
                <a:cubicBezTo>
                  <a:pt x="72" y="102"/>
                  <a:pt x="72" y="102"/>
                  <a:pt x="72" y="102"/>
                </a:cubicBezTo>
                <a:cubicBezTo>
                  <a:pt x="73" y="103"/>
                  <a:pt x="74" y="103"/>
                  <a:pt x="75" y="104"/>
                </a:cubicBezTo>
                <a:cubicBezTo>
                  <a:pt x="74" y="104"/>
                  <a:pt x="74" y="104"/>
                  <a:pt x="73" y="105"/>
                </a:cubicBezTo>
                <a:cubicBezTo>
                  <a:pt x="70" y="106"/>
                  <a:pt x="67" y="107"/>
                  <a:pt x="64" y="108"/>
                </a:cubicBezTo>
                <a:cubicBezTo>
                  <a:pt x="66" y="107"/>
                  <a:pt x="69" y="106"/>
                  <a:pt x="71" y="105"/>
                </a:cubicBezTo>
                <a:cubicBezTo>
                  <a:pt x="71" y="105"/>
                  <a:pt x="71" y="105"/>
                  <a:pt x="71" y="105"/>
                </a:cubicBezTo>
                <a:cubicBezTo>
                  <a:pt x="67" y="107"/>
                  <a:pt x="63" y="107"/>
                  <a:pt x="58" y="108"/>
                </a:cubicBezTo>
                <a:cubicBezTo>
                  <a:pt x="57" y="108"/>
                  <a:pt x="56" y="107"/>
                  <a:pt x="54" y="107"/>
                </a:cubicBezTo>
                <a:cubicBezTo>
                  <a:pt x="54" y="107"/>
                  <a:pt x="54" y="107"/>
                  <a:pt x="53" y="107"/>
                </a:cubicBezTo>
                <a:cubicBezTo>
                  <a:pt x="54" y="107"/>
                  <a:pt x="54" y="107"/>
                  <a:pt x="54" y="107"/>
                </a:cubicBezTo>
                <a:cubicBezTo>
                  <a:pt x="54" y="107"/>
                  <a:pt x="54" y="107"/>
                  <a:pt x="54" y="107"/>
                </a:cubicBezTo>
                <a:cubicBezTo>
                  <a:pt x="53" y="107"/>
                  <a:pt x="51" y="106"/>
                  <a:pt x="50" y="106"/>
                </a:cubicBezTo>
                <a:cubicBezTo>
                  <a:pt x="50" y="106"/>
                  <a:pt x="50" y="106"/>
                  <a:pt x="50" y="106"/>
                </a:cubicBezTo>
                <a:cubicBezTo>
                  <a:pt x="48" y="105"/>
                  <a:pt x="47" y="105"/>
                  <a:pt x="46" y="104"/>
                </a:cubicBezTo>
                <a:cubicBezTo>
                  <a:pt x="46" y="104"/>
                  <a:pt x="46" y="104"/>
                  <a:pt x="46" y="104"/>
                </a:cubicBezTo>
                <a:cubicBezTo>
                  <a:pt x="46" y="105"/>
                  <a:pt x="46" y="105"/>
                  <a:pt x="47" y="105"/>
                </a:cubicBezTo>
                <a:cubicBezTo>
                  <a:pt x="41" y="103"/>
                  <a:pt x="35" y="99"/>
                  <a:pt x="30" y="94"/>
                </a:cubicBezTo>
                <a:cubicBezTo>
                  <a:pt x="35" y="95"/>
                  <a:pt x="39" y="94"/>
                  <a:pt x="43" y="94"/>
                </a:cubicBezTo>
                <a:cubicBezTo>
                  <a:pt x="43" y="93"/>
                  <a:pt x="43" y="93"/>
                  <a:pt x="43" y="93"/>
                </a:cubicBezTo>
                <a:cubicBezTo>
                  <a:pt x="41" y="93"/>
                  <a:pt x="40" y="93"/>
                  <a:pt x="39" y="93"/>
                </a:cubicBezTo>
                <a:cubicBezTo>
                  <a:pt x="39" y="93"/>
                  <a:pt x="39" y="93"/>
                  <a:pt x="39" y="93"/>
                </a:cubicBezTo>
                <a:cubicBezTo>
                  <a:pt x="38" y="93"/>
                  <a:pt x="37" y="93"/>
                  <a:pt x="37" y="93"/>
                </a:cubicBezTo>
                <a:cubicBezTo>
                  <a:pt x="38" y="93"/>
                  <a:pt x="39" y="92"/>
                  <a:pt x="40" y="92"/>
                </a:cubicBezTo>
                <a:cubicBezTo>
                  <a:pt x="40" y="92"/>
                  <a:pt x="40" y="92"/>
                  <a:pt x="40" y="92"/>
                </a:cubicBezTo>
                <a:cubicBezTo>
                  <a:pt x="38" y="92"/>
                  <a:pt x="37" y="93"/>
                  <a:pt x="35" y="93"/>
                </a:cubicBezTo>
                <a:cubicBezTo>
                  <a:pt x="26" y="92"/>
                  <a:pt x="18" y="87"/>
                  <a:pt x="10" y="83"/>
                </a:cubicBezTo>
                <a:cubicBezTo>
                  <a:pt x="10" y="83"/>
                  <a:pt x="10" y="83"/>
                  <a:pt x="10" y="83"/>
                </a:cubicBezTo>
                <a:cubicBezTo>
                  <a:pt x="8" y="80"/>
                  <a:pt x="6" y="78"/>
                  <a:pt x="5" y="75"/>
                </a:cubicBezTo>
                <a:cubicBezTo>
                  <a:pt x="2" y="70"/>
                  <a:pt x="0" y="63"/>
                  <a:pt x="1" y="57"/>
                </a:cubicBezTo>
                <a:cubicBezTo>
                  <a:pt x="1" y="55"/>
                  <a:pt x="2" y="52"/>
                  <a:pt x="4" y="50"/>
                </a:cubicBezTo>
                <a:cubicBezTo>
                  <a:pt x="3" y="52"/>
                  <a:pt x="2" y="53"/>
                  <a:pt x="2" y="55"/>
                </a:cubicBezTo>
                <a:cubicBezTo>
                  <a:pt x="2" y="58"/>
                  <a:pt x="2" y="61"/>
                  <a:pt x="2" y="63"/>
                </a:cubicBezTo>
                <a:cubicBezTo>
                  <a:pt x="2" y="66"/>
                  <a:pt x="3" y="70"/>
                  <a:pt x="4" y="73"/>
                </a:cubicBezTo>
                <a:cubicBezTo>
                  <a:pt x="4" y="73"/>
                  <a:pt x="4" y="73"/>
                  <a:pt x="4" y="73"/>
                </a:cubicBezTo>
                <a:cubicBezTo>
                  <a:pt x="4" y="70"/>
                  <a:pt x="3" y="67"/>
                  <a:pt x="3" y="64"/>
                </a:cubicBezTo>
                <a:cubicBezTo>
                  <a:pt x="2" y="62"/>
                  <a:pt x="2" y="59"/>
                  <a:pt x="2" y="57"/>
                </a:cubicBezTo>
                <a:cubicBezTo>
                  <a:pt x="3" y="52"/>
                  <a:pt x="5" y="49"/>
                  <a:pt x="7" y="46"/>
                </a:cubicBezTo>
                <a:cubicBezTo>
                  <a:pt x="9" y="45"/>
                  <a:pt x="10" y="44"/>
                  <a:pt x="12" y="43"/>
                </a:cubicBezTo>
                <a:cubicBezTo>
                  <a:pt x="13" y="43"/>
                  <a:pt x="13" y="44"/>
                  <a:pt x="14" y="44"/>
                </a:cubicBezTo>
                <a:cubicBezTo>
                  <a:pt x="15" y="44"/>
                  <a:pt x="15" y="44"/>
                  <a:pt x="15" y="44"/>
                </a:cubicBezTo>
                <a:cubicBezTo>
                  <a:pt x="14" y="44"/>
                  <a:pt x="13" y="43"/>
                  <a:pt x="13" y="43"/>
                </a:cubicBezTo>
                <a:cubicBezTo>
                  <a:pt x="13" y="42"/>
                  <a:pt x="13" y="42"/>
                  <a:pt x="13" y="42"/>
                </a:cubicBezTo>
                <a:cubicBezTo>
                  <a:pt x="12" y="41"/>
                  <a:pt x="12" y="41"/>
                  <a:pt x="12" y="41"/>
                </a:cubicBezTo>
                <a:cubicBezTo>
                  <a:pt x="12" y="41"/>
                  <a:pt x="12" y="41"/>
                  <a:pt x="12" y="41"/>
                </a:cubicBezTo>
                <a:cubicBezTo>
                  <a:pt x="12" y="41"/>
                  <a:pt x="12" y="41"/>
                  <a:pt x="12" y="41"/>
                </a:cubicBezTo>
                <a:cubicBezTo>
                  <a:pt x="12" y="41"/>
                  <a:pt x="12" y="41"/>
                  <a:pt x="12" y="41"/>
                </a:cubicBezTo>
                <a:cubicBezTo>
                  <a:pt x="12" y="41"/>
                  <a:pt x="12" y="41"/>
                  <a:pt x="12" y="41"/>
                </a:cubicBezTo>
                <a:cubicBezTo>
                  <a:pt x="10" y="39"/>
                  <a:pt x="8" y="36"/>
                  <a:pt x="7" y="33"/>
                </a:cubicBezTo>
                <a:cubicBezTo>
                  <a:pt x="7" y="32"/>
                  <a:pt x="8" y="31"/>
                  <a:pt x="8" y="30"/>
                </a:cubicBezTo>
                <a:cubicBezTo>
                  <a:pt x="8" y="30"/>
                  <a:pt x="8" y="30"/>
                  <a:pt x="8" y="30"/>
                </a:cubicBezTo>
                <a:cubicBezTo>
                  <a:pt x="9" y="28"/>
                  <a:pt x="10" y="27"/>
                  <a:pt x="11" y="25"/>
                </a:cubicBezTo>
                <a:cubicBezTo>
                  <a:pt x="12" y="24"/>
                  <a:pt x="13" y="24"/>
                  <a:pt x="14" y="23"/>
                </a:cubicBezTo>
                <a:cubicBezTo>
                  <a:pt x="14" y="23"/>
                  <a:pt x="14" y="23"/>
                  <a:pt x="14" y="23"/>
                </a:cubicBezTo>
                <a:cubicBezTo>
                  <a:pt x="13" y="23"/>
                  <a:pt x="13" y="23"/>
                  <a:pt x="13" y="23"/>
                </a:cubicBezTo>
                <a:cubicBezTo>
                  <a:pt x="16" y="21"/>
                  <a:pt x="18" y="20"/>
                  <a:pt x="22" y="19"/>
                </a:cubicBezTo>
                <a:cubicBezTo>
                  <a:pt x="22" y="19"/>
                  <a:pt x="22" y="19"/>
                  <a:pt x="22" y="19"/>
                </a:cubicBezTo>
                <a:cubicBezTo>
                  <a:pt x="17" y="19"/>
                  <a:pt x="12" y="23"/>
                  <a:pt x="9" y="27"/>
                </a:cubicBezTo>
                <a:cubicBezTo>
                  <a:pt x="8" y="29"/>
                  <a:pt x="6" y="31"/>
                  <a:pt x="7" y="34"/>
                </a:cubicBezTo>
                <a:cubicBezTo>
                  <a:pt x="7" y="34"/>
                  <a:pt x="7" y="34"/>
                  <a:pt x="7" y="34"/>
                </a:cubicBezTo>
                <a:cubicBezTo>
                  <a:pt x="7" y="35"/>
                  <a:pt x="8" y="36"/>
                  <a:pt x="8" y="37"/>
                </a:cubicBezTo>
                <a:cubicBezTo>
                  <a:pt x="7" y="37"/>
                  <a:pt x="7" y="37"/>
                  <a:pt x="7" y="37"/>
                </a:cubicBezTo>
                <a:cubicBezTo>
                  <a:pt x="5" y="32"/>
                  <a:pt x="8" y="27"/>
                  <a:pt x="11" y="24"/>
                </a:cubicBezTo>
                <a:cubicBezTo>
                  <a:pt x="11" y="24"/>
                  <a:pt x="11" y="24"/>
                  <a:pt x="11" y="24"/>
                </a:cubicBezTo>
                <a:cubicBezTo>
                  <a:pt x="9" y="26"/>
                  <a:pt x="6" y="29"/>
                  <a:pt x="6" y="33"/>
                </a:cubicBezTo>
                <a:cubicBezTo>
                  <a:pt x="6" y="29"/>
                  <a:pt x="8" y="25"/>
                  <a:pt x="11" y="23"/>
                </a:cubicBezTo>
                <a:cubicBezTo>
                  <a:pt x="13" y="21"/>
                  <a:pt x="16" y="20"/>
                  <a:pt x="19" y="19"/>
                </a:cubicBezTo>
                <a:cubicBezTo>
                  <a:pt x="18" y="19"/>
                  <a:pt x="18" y="19"/>
                  <a:pt x="17" y="20"/>
                </a:cubicBezTo>
                <a:cubicBezTo>
                  <a:pt x="18" y="20"/>
                  <a:pt x="18" y="20"/>
                  <a:pt x="18" y="20"/>
                </a:cubicBezTo>
                <a:cubicBezTo>
                  <a:pt x="21" y="18"/>
                  <a:pt x="25" y="18"/>
                  <a:pt x="28" y="18"/>
                </a:cubicBezTo>
                <a:cubicBezTo>
                  <a:pt x="29" y="18"/>
                  <a:pt x="29" y="18"/>
                  <a:pt x="29" y="18"/>
                </a:cubicBezTo>
                <a:cubicBezTo>
                  <a:pt x="27" y="18"/>
                  <a:pt x="26" y="18"/>
                  <a:pt x="25" y="18"/>
                </a:cubicBezTo>
                <a:cubicBezTo>
                  <a:pt x="29" y="17"/>
                  <a:pt x="33" y="18"/>
                  <a:pt x="36" y="19"/>
                </a:cubicBezTo>
                <a:cubicBezTo>
                  <a:pt x="36" y="19"/>
                  <a:pt x="36" y="19"/>
                  <a:pt x="36" y="19"/>
                </a:cubicBezTo>
                <a:cubicBezTo>
                  <a:pt x="36" y="19"/>
                  <a:pt x="36" y="19"/>
                  <a:pt x="36" y="19"/>
                </a:cubicBezTo>
                <a:cubicBezTo>
                  <a:pt x="37" y="20"/>
                  <a:pt x="38" y="20"/>
                  <a:pt x="39" y="21"/>
                </a:cubicBezTo>
                <a:cubicBezTo>
                  <a:pt x="39" y="20"/>
                  <a:pt x="39" y="20"/>
                  <a:pt x="39" y="20"/>
                </a:cubicBezTo>
                <a:cubicBezTo>
                  <a:pt x="38" y="20"/>
                  <a:pt x="37" y="19"/>
                  <a:pt x="36" y="19"/>
                </a:cubicBezTo>
                <a:cubicBezTo>
                  <a:pt x="36" y="17"/>
                  <a:pt x="37" y="15"/>
                  <a:pt x="37" y="13"/>
                </a:cubicBezTo>
                <a:cubicBezTo>
                  <a:pt x="37" y="14"/>
                  <a:pt x="37" y="15"/>
                  <a:pt x="37" y="16"/>
                </a:cubicBezTo>
                <a:cubicBezTo>
                  <a:pt x="37" y="16"/>
                  <a:pt x="37" y="17"/>
                  <a:pt x="37" y="18"/>
                </a:cubicBezTo>
                <a:cubicBezTo>
                  <a:pt x="37" y="18"/>
                  <a:pt x="37" y="18"/>
                  <a:pt x="37" y="18"/>
                </a:cubicBezTo>
                <a:cubicBezTo>
                  <a:pt x="37" y="18"/>
                  <a:pt x="37" y="18"/>
                  <a:pt x="37" y="18"/>
                </a:cubicBezTo>
                <a:cubicBezTo>
                  <a:pt x="37" y="18"/>
                  <a:pt x="37" y="18"/>
                  <a:pt x="37" y="18"/>
                </a:cubicBezTo>
                <a:cubicBezTo>
                  <a:pt x="37" y="18"/>
                  <a:pt x="38" y="17"/>
                  <a:pt x="38" y="17"/>
                </a:cubicBezTo>
                <a:cubicBezTo>
                  <a:pt x="38" y="16"/>
                  <a:pt x="38" y="15"/>
                  <a:pt x="38" y="14"/>
                </a:cubicBezTo>
                <a:cubicBezTo>
                  <a:pt x="39" y="13"/>
                  <a:pt x="39" y="11"/>
                  <a:pt x="40" y="10"/>
                </a:cubicBezTo>
                <a:cubicBezTo>
                  <a:pt x="41" y="10"/>
                  <a:pt x="41" y="9"/>
                  <a:pt x="41" y="8"/>
                </a:cubicBezTo>
                <a:cubicBezTo>
                  <a:pt x="42" y="8"/>
                  <a:pt x="42" y="8"/>
                  <a:pt x="42" y="8"/>
                </a:cubicBezTo>
                <a:cubicBezTo>
                  <a:pt x="40" y="11"/>
                  <a:pt x="39" y="15"/>
                  <a:pt x="38" y="19"/>
                </a:cubicBezTo>
                <a:cubicBezTo>
                  <a:pt x="38" y="19"/>
                  <a:pt x="38" y="19"/>
                  <a:pt x="38" y="19"/>
                </a:cubicBezTo>
                <a:cubicBezTo>
                  <a:pt x="40" y="15"/>
                  <a:pt x="40" y="11"/>
                  <a:pt x="42" y="8"/>
                </a:cubicBezTo>
                <a:cubicBezTo>
                  <a:pt x="44" y="6"/>
                  <a:pt x="45" y="5"/>
                  <a:pt x="47" y="4"/>
                </a:cubicBezTo>
                <a:cubicBezTo>
                  <a:pt x="50" y="3"/>
                  <a:pt x="53" y="3"/>
                  <a:pt x="55" y="2"/>
                </a:cubicBezTo>
                <a:cubicBezTo>
                  <a:pt x="55" y="2"/>
                  <a:pt x="55" y="2"/>
                  <a:pt x="55" y="2"/>
                </a:cubicBezTo>
                <a:cubicBezTo>
                  <a:pt x="53" y="3"/>
                  <a:pt x="52" y="3"/>
                  <a:pt x="50" y="4"/>
                </a:cubicBezTo>
                <a:cubicBezTo>
                  <a:pt x="50" y="4"/>
                  <a:pt x="50" y="4"/>
                  <a:pt x="50" y="4"/>
                </a:cubicBezTo>
                <a:cubicBezTo>
                  <a:pt x="53" y="4"/>
                  <a:pt x="56" y="3"/>
                  <a:pt x="59" y="2"/>
                </a:cubicBezTo>
                <a:cubicBezTo>
                  <a:pt x="63" y="1"/>
                  <a:pt x="66" y="2"/>
                  <a:pt x="69" y="4"/>
                </a:cubicBezTo>
                <a:cubicBezTo>
                  <a:pt x="69" y="4"/>
                  <a:pt x="69" y="4"/>
                  <a:pt x="69" y="4"/>
                </a:cubicBezTo>
                <a:cubicBezTo>
                  <a:pt x="68" y="3"/>
                  <a:pt x="67" y="2"/>
                  <a:pt x="67" y="2"/>
                </a:cubicBezTo>
                <a:cubicBezTo>
                  <a:pt x="72" y="3"/>
                  <a:pt x="77" y="5"/>
                  <a:pt x="81" y="8"/>
                </a:cubicBezTo>
                <a:cubicBezTo>
                  <a:pt x="88" y="13"/>
                  <a:pt x="90" y="22"/>
                  <a:pt x="89" y="30"/>
                </a:cubicBezTo>
                <a:cubicBezTo>
                  <a:pt x="89" y="30"/>
                  <a:pt x="89" y="31"/>
                  <a:pt x="89" y="30"/>
                </a:cubicBezTo>
                <a:cubicBezTo>
                  <a:pt x="91" y="22"/>
                  <a:pt x="88" y="13"/>
                  <a:pt x="82" y="8"/>
                </a:cubicBezTo>
                <a:cubicBezTo>
                  <a:pt x="77" y="3"/>
                  <a:pt x="70" y="1"/>
                  <a:pt x="63" y="1"/>
                </a:cubicBezTo>
                <a:cubicBezTo>
                  <a:pt x="58" y="0"/>
                  <a:pt x="52" y="1"/>
                  <a:pt x="47" y="3"/>
                </a:cubicBezTo>
                <a:cubicBezTo>
                  <a:pt x="44" y="3"/>
                  <a:pt x="41" y="5"/>
                  <a:pt x="39" y="7"/>
                </a:cubicBezTo>
                <a:cubicBezTo>
                  <a:pt x="39" y="8"/>
                  <a:pt x="39" y="8"/>
                  <a:pt x="39" y="8"/>
                </a:cubicBezTo>
                <a:cubicBezTo>
                  <a:pt x="40" y="6"/>
                  <a:pt x="42" y="5"/>
                  <a:pt x="44" y="4"/>
                </a:cubicBezTo>
                <a:cubicBezTo>
                  <a:pt x="44" y="4"/>
                  <a:pt x="44" y="4"/>
                  <a:pt x="44" y="4"/>
                </a:cubicBezTo>
                <a:cubicBezTo>
                  <a:pt x="44" y="4"/>
                  <a:pt x="43" y="5"/>
                  <a:pt x="43" y="5"/>
                </a:cubicBezTo>
                <a:cubicBezTo>
                  <a:pt x="43" y="5"/>
                  <a:pt x="43" y="5"/>
                  <a:pt x="43" y="5"/>
                </a:cubicBezTo>
                <a:cubicBezTo>
                  <a:pt x="43" y="5"/>
                  <a:pt x="43" y="5"/>
                  <a:pt x="43" y="5"/>
                </a:cubicBezTo>
                <a:cubicBezTo>
                  <a:pt x="42" y="6"/>
                  <a:pt x="42" y="6"/>
                  <a:pt x="42" y="6"/>
                </a:cubicBezTo>
                <a:cubicBezTo>
                  <a:pt x="39" y="8"/>
                  <a:pt x="36" y="13"/>
                  <a:pt x="35" y="17"/>
                </a:cubicBezTo>
                <a:cubicBezTo>
                  <a:pt x="35" y="17"/>
                  <a:pt x="35" y="18"/>
                  <a:pt x="35" y="18"/>
                </a:cubicBezTo>
                <a:cubicBezTo>
                  <a:pt x="35" y="19"/>
                  <a:pt x="35" y="19"/>
                  <a:pt x="35" y="19"/>
                </a:cubicBezTo>
                <a:cubicBezTo>
                  <a:pt x="27" y="15"/>
                  <a:pt x="17" y="17"/>
                  <a:pt x="10" y="23"/>
                </a:cubicBezTo>
                <a:cubicBezTo>
                  <a:pt x="7" y="25"/>
                  <a:pt x="5" y="29"/>
                  <a:pt x="5" y="33"/>
                </a:cubicBezTo>
                <a:cubicBezTo>
                  <a:pt x="5" y="37"/>
                  <a:pt x="8" y="40"/>
                  <a:pt x="11" y="42"/>
                </a:cubicBezTo>
                <a:cubicBezTo>
                  <a:pt x="11" y="43"/>
                  <a:pt x="10" y="43"/>
                  <a:pt x="10" y="43"/>
                </a:cubicBezTo>
                <a:cubicBezTo>
                  <a:pt x="8" y="44"/>
                  <a:pt x="6" y="46"/>
                  <a:pt x="4" y="48"/>
                </a:cubicBezTo>
                <a:cubicBezTo>
                  <a:pt x="2" y="50"/>
                  <a:pt x="1" y="53"/>
                  <a:pt x="1" y="56"/>
                </a:cubicBezTo>
                <a:cubicBezTo>
                  <a:pt x="0" y="60"/>
                  <a:pt x="0" y="65"/>
                  <a:pt x="2" y="70"/>
                </a:cubicBezTo>
                <a:cubicBezTo>
                  <a:pt x="2" y="71"/>
                  <a:pt x="2" y="72"/>
                  <a:pt x="3" y="73"/>
                </a:cubicBezTo>
                <a:cubicBezTo>
                  <a:pt x="3" y="74"/>
                  <a:pt x="4" y="74"/>
                  <a:pt x="4" y="75"/>
                </a:cubicBezTo>
                <a:cubicBezTo>
                  <a:pt x="6" y="80"/>
                  <a:pt x="10" y="85"/>
                  <a:pt x="15" y="88"/>
                </a:cubicBezTo>
                <a:cubicBezTo>
                  <a:pt x="17" y="91"/>
                  <a:pt x="20" y="92"/>
                  <a:pt x="24" y="93"/>
                </a:cubicBezTo>
                <a:cubicBezTo>
                  <a:pt x="26" y="94"/>
                  <a:pt x="28" y="94"/>
                  <a:pt x="30" y="94"/>
                </a:cubicBezTo>
                <a:cubicBezTo>
                  <a:pt x="35" y="101"/>
                  <a:pt x="44" y="106"/>
                  <a:pt x="52" y="108"/>
                </a:cubicBezTo>
                <a:cubicBezTo>
                  <a:pt x="57" y="109"/>
                  <a:pt x="62" y="110"/>
                  <a:pt x="67" y="109"/>
                </a:cubicBezTo>
                <a:cubicBezTo>
                  <a:pt x="66" y="109"/>
                  <a:pt x="66" y="109"/>
                  <a:pt x="65" y="110"/>
                </a:cubicBezTo>
                <a:cubicBezTo>
                  <a:pt x="65" y="110"/>
                  <a:pt x="65" y="110"/>
                  <a:pt x="65" y="110"/>
                </a:cubicBezTo>
                <a:cubicBezTo>
                  <a:pt x="67" y="110"/>
                  <a:pt x="69" y="109"/>
                  <a:pt x="71" y="108"/>
                </a:cubicBezTo>
                <a:cubicBezTo>
                  <a:pt x="73" y="107"/>
                  <a:pt x="74" y="106"/>
                  <a:pt x="76" y="104"/>
                </a:cubicBezTo>
                <a:cubicBezTo>
                  <a:pt x="80" y="105"/>
                  <a:pt x="84" y="105"/>
                  <a:pt x="88" y="104"/>
                </a:cubicBezTo>
                <a:cubicBezTo>
                  <a:pt x="89" y="104"/>
                  <a:pt x="89" y="104"/>
                  <a:pt x="89" y="104"/>
                </a:cubicBezTo>
                <a:cubicBezTo>
                  <a:pt x="90" y="104"/>
                  <a:pt x="92" y="104"/>
                  <a:pt x="93" y="103"/>
                </a:cubicBezTo>
                <a:cubicBezTo>
                  <a:pt x="97" y="102"/>
                  <a:pt x="100" y="100"/>
                  <a:pt x="103" y="98"/>
                </a:cubicBezTo>
                <a:cubicBezTo>
                  <a:pt x="106" y="96"/>
                  <a:pt x="108" y="94"/>
                  <a:pt x="110" y="91"/>
                </a:cubicBezTo>
                <a:cubicBezTo>
                  <a:pt x="110" y="91"/>
                  <a:pt x="110" y="91"/>
                  <a:pt x="110" y="91"/>
                </a:cubicBezTo>
                <a:cubicBezTo>
                  <a:pt x="111" y="90"/>
                  <a:pt x="111" y="90"/>
                  <a:pt x="111" y="89"/>
                </a:cubicBezTo>
                <a:cubicBezTo>
                  <a:pt x="112" y="88"/>
                  <a:pt x="112" y="87"/>
                  <a:pt x="113" y="86"/>
                </a:cubicBezTo>
                <a:close/>
                <a:moveTo>
                  <a:pt x="49" y="3"/>
                </a:moveTo>
                <a:cubicBezTo>
                  <a:pt x="52" y="2"/>
                  <a:pt x="56" y="1"/>
                  <a:pt x="59" y="1"/>
                </a:cubicBezTo>
                <a:cubicBezTo>
                  <a:pt x="59" y="1"/>
                  <a:pt x="58" y="2"/>
                  <a:pt x="58" y="2"/>
                </a:cubicBezTo>
                <a:cubicBezTo>
                  <a:pt x="55" y="2"/>
                  <a:pt x="52" y="2"/>
                  <a:pt x="49" y="3"/>
                </a:cubicBezTo>
                <a:close/>
                <a:moveTo>
                  <a:pt x="48" y="3"/>
                </a:moveTo>
                <a:cubicBezTo>
                  <a:pt x="49" y="3"/>
                  <a:pt x="49" y="3"/>
                  <a:pt x="49" y="3"/>
                </a:cubicBezTo>
                <a:cubicBezTo>
                  <a:pt x="47" y="4"/>
                  <a:pt x="45" y="5"/>
                  <a:pt x="43" y="6"/>
                </a:cubicBezTo>
                <a:cubicBezTo>
                  <a:pt x="44" y="6"/>
                  <a:pt x="44" y="6"/>
                  <a:pt x="44" y="6"/>
                </a:cubicBezTo>
                <a:cubicBezTo>
                  <a:pt x="44" y="5"/>
                  <a:pt x="45" y="5"/>
                  <a:pt x="45" y="5"/>
                </a:cubicBezTo>
                <a:cubicBezTo>
                  <a:pt x="46" y="4"/>
                  <a:pt x="47" y="4"/>
                  <a:pt x="48" y="3"/>
                </a:cubicBezTo>
                <a:close/>
                <a:moveTo>
                  <a:pt x="9" y="39"/>
                </a:moveTo>
                <a:cubicBezTo>
                  <a:pt x="8" y="39"/>
                  <a:pt x="8" y="38"/>
                  <a:pt x="8" y="38"/>
                </a:cubicBezTo>
                <a:cubicBezTo>
                  <a:pt x="8" y="38"/>
                  <a:pt x="8" y="38"/>
                  <a:pt x="8" y="38"/>
                </a:cubicBezTo>
                <a:cubicBezTo>
                  <a:pt x="8" y="38"/>
                  <a:pt x="8" y="39"/>
                  <a:pt x="9" y="39"/>
                </a:cubicBezTo>
                <a:close/>
                <a:moveTo>
                  <a:pt x="12" y="41"/>
                </a:moveTo>
                <a:cubicBezTo>
                  <a:pt x="11" y="40"/>
                  <a:pt x="10" y="40"/>
                  <a:pt x="10" y="39"/>
                </a:cubicBezTo>
                <a:cubicBezTo>
                  <a:pt x="9" y="38"/>
                  <a:pt x="9" y="38"/>
                  <a:pt x="8" y="37"/>
                </a:cubicBezTo>
                <a:cubicBezTo>
                  <a:pt x="8" y="37"/>
                  <a:pt x="8" y="37"/>
                  <a:pt x="9" y="37"/>
                </a:cubicBezTo>
                <a:cubicBezTo>
                  <a:pt x="9" y="39"/>
                  <a:pt x="10" y="40"/>
                  <a:pt x="12" y="41"/>
                </a:cubicBezTo>
                <a:close/>
                <a:moveTo>
                  <a:pt x="35" y="93"/>
                </a:moveTo>
                <a:cubicBezTo>
                  <a:pt x="36" y="93"/>
                  <a:pt x="36" y="93"/>
                  <a:pt x="36" y="93"/>
                </a:cubicBezTo>
                <a:cubicBezTo>
                  <a:pt x="35" y="94"/>
                  <a:pt x="34" y="94"/>
                  <a:pt x="33" y="94"/>
                </a:cubicBezTo>
                <a:cubicBezTo>
                  <a:pt x="34" y="94"/>
                  <a:pt x="34" y="93"/>
                  <a:pt x="35" y="93"/>
                </a:cubicBezTo>
                <a:close/>
                <a:moveTo>
                  <a:pt x="17" y="88"/>
                </a:moveTo>
                <a:cubicBezTo>
                  <a:pt x="19" y="89"/>
                  <a:pt x="22" y="91"/>
                  <a:pt x="24" y="92"/>
                </a:cubicBezTo>
                <a:cubicBezTo>
                  <a:pt x="26" y="92"/>
                  <a:pt x="27" y="93"/>
                  <a:pt x="28" y="93"/>
                </a:cubicBezTo>
                <a:cubicBezTo>
                  <a:pt x="25" y="93"/>
                  <a:pt x="22" y="92"/>
                  <a:pt x="19" y="90"/>
                </a:cubicBezTo>
                <a:cubicBezTo>
                  <a:pt x="16" y="88"/>
                  <a:pt x="13" y="86"/>
                  <a:pt x="11" y="84"/>
                </a:cubicBezTo>
                <a:cubicBezTo>
                  <a:pt x="17" y="88"/>
                  <a:pt x="24" y="91"/>
                  <a:pt x="32" y="93"/>
                </a:cubicBezTo>
                <a:cubicBezTo>
                  <a:pt x="29" y="93"/>
                  <a:pt x="27" y="92"/>
                  <a:pt x="24" y="91"/>
                </a:cubicBezTo>
                <a:cubicBezTo>
                  <a:pt x="22" y="90"/>
                  <a:pt x="19" y="89"/>
                  <a:pt x="17" y="87"/>
                </a:cubicBezTo>
                <a:lnTo>
                  <a:pt x="17" y="88"/>
                </a:lnTo>
                <a:close/>
                <a:moveTo>
                  <a:pt x="71" y="107"/>
                </a:moveTo>
                <a:cubicBezTo>
                  <a:pt x="68" y="108"/>
                  <a:pt x="66" y="108"/>
                  <a:pt x="63" y="108"/>
                </a:cubicBezTo>
                <a:cubicBezTo>
                  <a:pt x="66" y="108"/>
                  <a:pt x="69" y="107"/>
                  <a:pt x="71" y="106"/>
                </a:cubicBezTo>
                <a:lnTo>
                  <a:pt x="71" y="107"/>
                </a:lnTo>
                <a:close/>
                <a:moveTo>
                  <a:pt x="98" y="99"/>
                </a:moveTo>
                <a:cubicBezTo>
                  <a:pt x="97" y="99"/>
                  <a:pt x="96" y="100"/>
                  <a:pt x="95" y="101"/>
                </a:cubicBezTo>
                <a:cubicBezTo>
                  <a:pt x="94" y="101"/>
                  <a:pt x="93" y="101"/>
                  <a:pt x="92" y="102"/>
                </a:cubicBezTo>
                <a:cubicBezTo>
                  <a:pt x="94" y="101"/>
                  <a:pt x="96" y="100"/>
                  <a:pt x="98" y="99"/>
                </a:cubicBezTo>
                <a:close/>
                <a:moveTo>
                  <a:pt x="100" y="99"/>
                </a:moveTo>
                <a:cubicBezTo>
                  <a:pt x="96" y="101"/>
                  <a:pt x="92" y="103"/>
                  <a:pt x="88" y="103"/>
                </a:cubicBezTo>
                <a:cubicBezTo>
                  <a:pt x="88" y="104"/>
                  <a:pt x="87" y="104"/>
                  <a:pt x="87" y="104"/>
                </a:cubicBezTo>
                <a:cubicBezTo>
                  <a:pt x="85" y="104"/>
                  <a:pt x="83" y="104"/>
                  <a:pt x="81" y="103"/>
                </a:cubicBezTo>
                <a:cubicBezTo>
                  <a:pt x="84" y="104"/>
                  <a:pt x="86" y="103"/>
                  <a:pt x="89" y="102"/>
                </a:cubicBezTo>
                <a:cubicBezTo>
                  <a:pt x="93" y="103"/>
                  <a:pt x="97" y="100"/>
                  <a:pt x="99" y="99"/>
                </a:cubicBezTo>
                <a:cubicBezTo>
                  <a:pt x="100" y="98"/>
                  <a:pt x="101" y="97"/>
                  <a:pt x="102" y="97"/>
                </a:cubicBezTo>
                <a:cubicBezTo>
                  <a:pt x="102" y="97"/>
                  <a:pt x="102" y="97"/>
                  <a:pt x="102" y="97"/>
                </a:cubicBezTo>
                <a:cubicBezTo>
                  <a:pt x="101" y="97"/>
                  <a:pt x="100" y="98"/>
                  <a:pt x="100" y="99"/>
                </a:cubicBezTo>
                <a:close/>
                <a:moveTo>
                  <a:pt x="103" y="97"/>
                </a:moveTo>
                <a:cubicBezTo>
                  <a:pt x="102" y="98"/>
                  <a:pt x="102" y="98"/>
                  <a:pt x="102" y="98"/>
                </a:cubicBezTo>
                <a:cubicBezTo>
                  <a:pt x="104" y="96"/>
                  <a:pt x="105" y="94"/>
                  <a:pt x="106" y="93"/>
                </a:cubicBezTo>
                <a:cubicBezTo>
                  <a:pt x="108" y="92"/>
                  <a:pt x="109" y="91"/>
                  <a:pt x="110" y="90"/>
                </a:cubicBezTo>
                <a:cubicBezTo>
                  <a:pt x="110" y="89"/>
                  <a:pt x="110" y="89"/>
                  <a:pt x="110" y="89"/>
                </a:cubicBezTo>
                <a:cubicBezTo>
                  <a:pt x="109" y="90"/>
                  <a:pt x="108" y="91"/>
                  <a:pt x="107" y="91"/>
                </a:cubicBezTo>
                <a:cubicBezTo>
                  <a:pt x="109" y="89"/>
                  <a:pt x="110" y="87"/>
                  <a:pt x="112" y="85"/>
                </a:cubicBezTo>
                <a:cubicBezTo>
                  <a:pt x="111" y="86"/>
                  <a:pt x="111" y="88"/>
                  <a:pt x="111" y="89"/>
                </a:cubicBezTo>
                <a:cubicBezTo>
                  <a:pt x="108" y="92"/>
                  <a:pt x="106" y="95"/>
                  <a:pt x="103" y="97"/>
                </a:cubicBezTo>
                <a:close/>
                <a:moveTo>
                  <a:pt x="113" y="84"/>
                </a:moveTo>
                <a:cubicBezTo>
                  <a:pt x="113" y="83"/>
                  <a:pt x="113" y="83"/>
                  <a:pt x="113" y="83"/>
                </a:cubicBezTo>
                <a:cubicBezTo>
                  <a:pt x="113" y="83"/>
                  <a:pt x="113" y="83"/>
                  <a:pt x="113" y="83"/>
                </a:cubicBezTo>
                <a:cubicBezTo>
                  <a:pt x="113" y="83"/>
                  <a:pt x="113" y="83"/>
                  <a:pt x="113" y="83"/>
                </a:cubicBezTo>
                <a:cubicBezTo>
                  <a:pt x="113" y="83"/>
                  <a:pt x="113" y="83"/>
                  <a:pt x="113" y="83"/>
                </a:cubicBezTo>
                <a:cubicBezTo>
                  <a:pt x="113" y="80"/>
                  <a:pt x="114" y="77"/>
                  <a:pt x="114" y="75"/>
                </a:cubicBezTo>
                <a:cubicBezTo>
                  <a:pt x="114" y="76"/>
                  <a:pt x="115" y="77"/>
                  <a:pt x="114" y="79"/>
                </a:cubicBezTo>
                <a:cubicBezTo>
                  <a:pt x="114" y="81"/>
                  <a:pt x="113" y="84"/>
                  <a:pt x="112" y="86"/>
                </a:cubicBezTo>
                <a:cubicBezTo>
                  <a:pt x="112" y="86"/>
                  <a:pt x="112" y="86"/>
                  <a:pt x="112" y="86"/>
                </a:cubicBezTo>
                <a:cubicBezTo>
                  <a:pt x="113" y="85"/>
                  <a:pt x="113" y="84"/>
                  <a:pt x="113" y="84"/>
                </a:cubicBezTo>
                <a:close/>
              </a:path>
            </a:pathLst>
          </a:custGeom>
          <a:solidFill>
            <a:srgbClr val="747678"/>
          </a:solidFill>
          <a:ln>
            <a:noFill/>
          </a:ln>
        </p:spPr>
        <p:txBody>
          <a:bodyPr spcFirstLastPara="1" wrap="square" lIns="74275" tIns="37125" rIns="74275" bIns="371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63">
              <a:solidFill>
                <a:srgbClr val="00000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154" name="TextBox 2153">
            <a:extLst>
              <a:ext uri="{FF2B5EF4-FFF2-40B4-BE49-F238E27FC236}">
                <a16:creationId xmlns:a16="http://schemas.microsoft.com/office/drawing/2014/main" id="{5E798D27-111A-753C-69FF-C2D7A8C7E44A}"/>
              </a:ext>
            </a:extLst>
          </p:cNvPr>
          <p:cNvSpPr txBox="1"/>
          <p:nvPr/>
        </p:nvSpPr>
        <p:spPr>
          <a:xfrm>
            <a:off x="1090098" y="2170034"/>
            <a:ext cx="3434103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16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BOULTON TRADING</a:t>
            </a:r>
          </a:p>
          <a:p>
            <a:pPr algn="ctr"/>
            <a:r>
              <a:rPr lang="en-IN" sz="1400" i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Trader, Mumbai</a:t>
            </a:r>
            <a:endParaRPr lang="en-IN" sz="1400" i="1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en-IN" sz="1400" i="1">
                <a:solidFill>
                  <a:schemeClr val="tx1"/>
                </a:solidFill>
                <a:latin typeface="+mj-lt"/>
              </a:rPr>
              <a:t>“I connect with our customers to know their orders outlook. Sometimes orders materials sufficient to fill up a 40ft container while during off season he uses a 20 ft container. I stock up materials1.5 months in advance</a:t>
            </a:r>
            <a:r>
              <a:rPr lang="en-IN" sz="1400" b="1" i="1">
                <a:solidFill>
                  <a:schemeClr val="tx1"/>
                </a:solidFill>
                <a:latin typeface="+mj-lt"/>
              </a:rPr>
              <a:t>”</a:t>
            </a:r>
            <a:endParaRPr lang="en-US" sz="1400" b="1" i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56" name="TextBox 2155">
            <a:extLst>
              <a:ext uri="{FF2B5EF4-FFF2-40B4-BE49-F238E27FC236}">
                <a16:creationId xmlns:a16="http://schemas.microsoft.com/office/drawing/2014/main" id="{5B98EADD-FA07-2AE5-59C9-B7645DB40A52}"/>
              </a:ext>
            </a:extLst>
          </p:cNvPr>
          <p:cNvSpPr txBox="1"/>
          <p:nvPr/>
        </p:nvSpPr>
        <p:spPr>
          <a:xfrm>
            <a:off x="4800443" y="2257385"/>
            <a:ext cx="2171326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16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SRIBAL</a:t>
            </a:r>
          </a:p>
          <a:p>
            <a:pPr algn="ctr"/>
            <a:r>
              <a:rPr lang="en-IN" sz="1400" i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EPC components supplier, Bengaluru</a:t>
            </a:r>
          </a:p>
          <a:p>
            <a:pPr algn="ctr"/>
            <a:r>
              <a:rPr lang="en-IN" sz="1400" i="1">
                <a:solidFill>
                  <a:schemeClr val="tx1"/>
                </a:solidFill>
                <a:latin typeface="+mj-lt"/>
              </a:rPr>
              <a:t>“Sometimes I have </a:t>
            </a:r>
            <a:r>
              <a:rPr lang="en-IN" sz="1400" i="1">
                <a:latin typeface="+mj-lt"/>
              </a:rPr>
              <a:t>many orders and some months it can be 0 as well. I can’t give any number</a:t>
            </a:r>
            <a:r>
              <a:rPr lang="en-IN" sz="1400" b="1" i="1">
                <a:solidFill>
                  <a:schemeClr val="tx1"/>
                </a:solidFill>
                <a:latin typeface="+mj-lt"/>
              </a:rPr>
              <a:t>”</a:t>
            </a:r>
            <a:endParaRPr lang="en-US" sz="1400" b="1" i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58" name="TextBox 2157">
            <a:extLst>
              <a:ext uri="{FF2B5EF4-FFF2-40B4-BE49-F238E27FC236}">
                <a16:creationId xmlns:a16="http://schemas.microsoft.com/office/drawing/2014/main" id="{C98FD8BC-EBFB-5900-EB85-0C4C118C96F5}"/>
              </a:ext>
            </a:extLst>
          </p:cNvPr>
          <p:cNvSpPr txBox="1"/>
          <p:nvPr/>
        </p:nvSpPr>
        <p:spPr>
          <a:xfrm>
            <a:off x="7463274" y="2572091"/>
            <a:ext cx="3748399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16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DS ENTERPRISES</a:t>
            </a:r>
          </a:p>
          <a:p>
            <a:pPr algn="ctr"/>
            <a:r>
              <a:rPr lang="en-IN" sz="1400" i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Automobile spare parts manufacturing, Gurugram</a:t>
            </a:r>
          </a:p>
          <a:p>
            <a:pPr algn="ctr"/>
            <a:r>
              <a:rPr lang="en-IN" sz="1400" i="1">
                <a:solidFill>
                  <a:schemeClr val="tx1"/>
                </a:solidFill>
                <a:latin typeface="+mj-lt"/>
              </a:rPr>
              <a:t>“Humko pata hai hamare customers kaun hai. </a:t>
            </a:r>
            <a:r>
              <a:rPr lang="en-IN" sz="1400" i="1" err="1">
                <a:solidFill>
                  <a:schemeClr val="tx1"/>
                </a:solidFill>
                <a:latin typeface="+mj-lt"/>
              </a:rPr>
              <a:t>Andaaza</a:t>
            </a:r>
            <a:r>
              <a:rPr lang="en-IN" sz="1400" i="1">
                <a:solidFill>
                  <a:schemeClr val="tx1"/>
                </a:solidFill>
                <a:latin typeface="+mj-lt"/>
              </a:rPr>
              <a:t> hai ki kitne orders aayenge agle mahine. </a:t>
            </a:r>
            <a:r>
              <a:rPr lang="en-IN" sz="1400" i="1" err="1">
                <a:solidFill>
                  <a:schemeClr val="tx1"/>
                </a:solidFill>
                <a:latin typeface="+mj-lt"/>
              </a:rPr>
              <a:t>Naye</a:t>
            </a:r>
            <a:r>
              <a:rPr lang="en-IN" sz="1400" i="1">
                <a:solidFill>
                  <a:schemeClr val="tx1"/>
                </a:solidFill>
                <a:latin typeface="+mj-lt"/>
              </a:rPr>
              <a:t> customers </a:t>
            </a:r>
            <a:r>
              <a:rPr lang="en-IN" sz="1400" i="1" err="1">
                <a:solidFill>
                  <a:schemeClr val="tx1"/>
                </a:solidFill>
                <a:latin typeface="+mj-lt"/>
              </a:rPr>
              <a:t>tou</a:t>
            </a:r>
            <a:r>
              <a:rPr lang="en-IN" sz="1400" i="1">
                <a:solidFill>
                  <a:schemeClr val="tx1"/>
                </a:solidFill>
                <a:latin typeface="+mj-lt"/>
              </a:rPr>
              <a:t> hum hi </a:t>
            </a:r>
            <a:r>
              <a:rPr lang="en-IN" sz="1400" i="1" err="1">
                <a:solidFill>
                  <a:schemeClr val="tx1"/>
                </a:solidFill>
                <a:latin typeface="+mj-lt"/>
              </a:rPr>
              <a:t>dhundte</a:t>
            </a:r>
            <a:r>
              <a:rPr lang="en-IN" sz="1400" i="1">
                <a:solidFill>
                  <a:schemeClr val="tx1"/>
                </a:solidFill>
                <a:latin typeface="+mj-lt"/>
              </a:rPr>
              <a:t> hai wo </a:t>
            </a:r>
            <a:r>
              <a:rPr lang="en-IN" sz="1400" i="1" err="1">
                <a:solidFill>
                  <a:schemeClr val="tx1"/>
                </a:solidFill>
                <a:latin typeface="+mj-lt"/>
              </a:rPr>
              <a:t>bhi</a:t>
            </a:r>
            <a:r>
              <a:rPr lang="en-IN" sz="1400" i="1">
                <a:solidFill>
                  <a:schemeClr val="tx1"/>
                </a:solidFill>
                <a:latin typeface="+mj-lt"/>
              </a:rPr>
              <a:t> hisaab </a:t>
            </a:r>
            <a:r>
              <a:rPr lang="en-IN" sz="1400" i="1" err="1">
                <a:solidFill>
                  <a:schemeClr val="tx1"/>
                </a:solidFill>
                <a:latin typeface="+mj-lt"/>
              </a:rPr>
              <a:t>laga</a:t>
            </a:r>
            <a:r>
              <a:rPr lang="en-IN" sz="1400" i="1">
                <a:solidFill>
                  <a:schemeClr val="tx1"/>
                </a:solidFill>
                <a:latin typeface="+mj-lt"/>
              </a:rPr>
              <a:t> lete hai </a:t>
            </a:r>
            <a:r>
              <a:rPr lang="en-IN" sz="1400" i="1" err="1">
                <a:solidFill>
                  <a:schemeClr val="tx1"/>
                </a:solidFill>
                <a:latin typeface="+mj-lt"/>
              </a:rPr>
              <a:t>kab</a:t>
            </a:r>
            <a:r>
              <a:rPr lang="en-IN" sz="1400" i="1">
                <a:solidFill>
                  <a:schemeClr val="tx1"/>
                </a:solidFill>
                <a:latin typeface="+mj-lt"/>
              </a:rPr>
              <a:t> order </a:t>
            </a:r>
            <a:r>
              <a:rPr lang="en-IN" sz="1400" i="1" err="1">
                <a:solidFill>
                  <a:schemeClr val="tx1"/>
                </a:solidFill>
                <a:latin typeface="+mj-lt"/>
              </a:rPr>
              <a:t>dega</a:t>
            </a:r>
            <a:r>
              <a:rPr lang="en-IN" sz="1400" i="1">
                <a:solidFill>
                  <a:schemeClr val="tx1"/>
                </a:solidFill>
                <a:latin typeface="+mj-lt"/>
              </a:rPr>
              <a:t>. </a:t>
            </a:r>
            <a:endParaRPr lang="en-US" sz="1400" i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59" name="Google Shape;507;p3">
            <a:extLst>
              <a:ext uri="{FF2B5EF4-FFF2-40B4-BE49-F238E27FC236}">
                <a16:creationId xmlns:a16="http://schemas.microsoft.com/office/drawing/2014/main" id="{794B5CD0-D50D-FFE0-052F-850904BC9AEE}"/>
              </a:ext>
            </a:extLst>
          </p:cNvPr>
          <p:cNvSpPr/>
          <p:nvPr/>
        </p:nvSpPr>
        <p:spPr>
          <a:xfrm>
            <a:off x="3688874" y="4166855"/>
            <a:ext cx="195732" cy="208271"/>
          </a:xfrm>
          <a:custGeom>
            <a:avLst/>
            <a:gdLst/>
            <a:ahLst/>
            <a:cxnLst/>
            <a:rect l="l" t="t" r="r" b="b"/>
            <a:pathLst>
              <a:path w="21" h="20" extrusionOk="0">
                <a:moveTo>
                  <a:pt x="12" y="2"/>
                </a:moveTo>
                <a:cubicBezTo>
                  <a:pt x="12" y="2"/>
                  <a:pt x="12" y="2"/>
                  <a:pt x="12" y="2"/>
                </a:cubicBezTo>
                <a:cubicBezTo>
                  <a:pt x="9" y="0"/>
                  <a:pt x="4" y="3"/>
                  <a:pt x="2" y="7"/>
                </a:cubicBezTo>
                <a:cubicBezTo>
                  <a:pt x="0" y="11"/>
                  <a:pt x="2" y="16"/>
                  <a:pt x="7" y="18"/>
                </a:cubicBezTo>
                <a:cubicBezTo>
                  <a:pt x="11" y="20"/>
                  <a:pt x="15" y="19"/>
                  <a:pt x="18" y="15"/>
                </a:cubicBezTo>
                <a:cubicBezTo>
                  <a:pt x="21" y="11"/>
                  <a:pt x="18" y="3"/>
                  <a:pt x="12" y="2"/>
                </a:cubicBezTo>
                <a:close/>
                <a:moveTo>
                  <a:pt x="17" y="14"/>
                </a:moveTo>
                <a:cubicBezTo>
                  <a:pt x="15" y="17"/>
                  <a:pt x="12" y="18"/>
                  <a:pt x="9" y="18"/>
                </a:cubicBezTo>
                <a:cubicBezTo>
                  <a:pt x="5" y="17"/>
                  <a:pt x="3" y="14"/>
                  <a:pt x="2" y="10"/>
                </a:cubicBezTo>
                <a:cubicBezTo>
                  <a:pt x="2" y="7"/>
                  <a:pt x="4" y="5"/>
                  <a:pt x="6" y="4"/>
                </a:cubicBezTo>
                <a:cubicBezTo>
                  <a:pt x="8" y="2"/>
                  <a:pt x="11" y="2"/>
                  <a:pt x="13" y="4"/>
                </a:cubicBezTo>
                <a:cubicBezTo>
                  <a:pt x="14" y="4"/>
                  <a:pt x="14" y="4"/>
                  <a:pt x="14" y="4"/>
                </a:cubicBezTo>
                <a:cubicBezTo>
                  <a:pt x="13" y="4"/>
                  <a:pt x="13" y="4"/>
                  <a:pt x="13" y="4"/>
                </a:cubicBezTo>
                <a:cubicBezTo>
                  <a:pt x="15" y="5"/>
                  <a:pt x="16" y="6"/>
                  <a:pt x="17" y="8"/>
                </a:cubicBezTo>
                <a:cubicBezTo>
                  <a:pt x="18" y="10"/>
                  <a:pt x="18" y="12"/>
                  <a:pt x="17" y="14"/>
                </a:cubicBezTo>
                <a:close/>
              </a:path>
            </a:pathLst>
          </a:custGeom>
          <a:solidFill>
            <a:srgbClr val="747678"/>
          </a:solidFill>
          <a:ln>
            <a:noFill/>
          </a:ln>
        </p:spPr>
        <p:txBody>
          <a:bodyPr spcFirstLastPara="1" wrap="square" lIns="74275" tIns="37125" rIns="74275" bIns="371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63">
              <a:solidFill>
                <a:srgbClr val="00000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160" name="Google Shape;508;p3">
            <a:extLst>
              <a:ext uri="{FF2B5EF4-FFF2-40B4-BE49-F238E27FC236}">
                <a16:creationId xmlns:a16="http://schemas.microsoft.com/office/drawing/2014/main" id="{36C81556-AAFB-4AFF-66E0-FDFE747464D4}"/>
              </a:ext>
            </a:extLst>
          </p:cNvPr>
          <p:cNvSpPr/>
          <p:nvPr/>
        </p:nvSpPr>
        <p:spPr>
          <a:xfrm>
            <a:off x="3884608" y="4385257"/>
            <a:ext cx="140927" cy="134506"/>
          </a:xfrm>
          <a:custGeom>
            <a:avLst/>
            <a:gdLst/>
            <a:ahLst/>
            <a:cxnLst/>
            <a:rect l="l" t="t" r="r" b="b"/>
            <a:pathLst>
              <a:path w="15" h="13" extrusionOk="0">
                <a:moveTo>
                  <a:pt x="9" y="2"/>
                </a:moveTo>
                <a:cubicBezTo>
                  <a:pt x="9" y="2"/>
                  <a:pt x="9" y="2"/>
                  <a:pt x="9" y="2"/>
                </a:cubicBezTo>
                <a:cubicBezTo>
                  <a:pt x="10" y="3"/>
                  <a:pt x="12" y="4"/>
                  <a:pt x="12" y="6"/>
                </a:cubicBezTo>
                <a:cubicBezTo>
                  <a:pt x="13" y="7"/>
                  <a:pt x="12" y="10"/>
                  <a:pt x="10" y="11"/>
                </a:cubicBezTo>
                <a:cubicBezTo>
                  <a:pt x="8" y="12"/>
                  <a:pt x="6" y="11"/>
                  <a:pt x="4" y="10"/>
                </a:cubicBezTo>
                <a:cubicBezTo>
                  <a:pt x="3" y="8"/>
                  <a:pt x="1" y="6"/>
                  <a:pt x="2" y="4"/>
                </a:cubicBezTo>
                <a:cubicBezTo>
                  <a:pt x="4" y="0"/>
                  <a:pt x="9" y="2"/>
                  <a:pt x="11" y="4"/>
                </a:cubicBezTo>
                <a:cubicBezTo>
                  <a:pt x="11" y="4"/>
                  <a:pt x="11" y="4"/>
                  <a:pt x="11" y="4"/>
                </a:cubicBezTo>
                <a:cubicBezTo>
                  <a:pt x="9" y="1"/>
                  <a:pt x="5" y="0"/>
                  <a:pt x="2" y="3"/>
                </a:cubicBezTo>
                <a:cubicBezTo>
                  <a:pt x="0" y="5"/>
                  <a:pt x="2" y="9"/>
                  <a:pt x="4" y="10"/>
                </a:cubicBezTo>
                <a:cubicBezTo>
                  <a:pt x="6" y="12"/>
                  <a:pt x="9" y="13"/>
                  <a:pt x="11" y="11"/>
                </a:cubicBezTo>
                <a:cubicBezTo>
                  <a:pt x="15" y="8"/>
                  <a:pt x="13" y="3"/>
                  <a:pt x="9" y="2"/>
                </a:cubicBezTo>
                <a:close/>
              </a:path>
            </a:pathLst>
          </a:custGeom>
          <a:solidFill>
            <a:srgbClr val="747678"/>
          </a:solidFill>
          <a:ln>
            <a:noFill/>
          </a:ln>
        </p:spPr>
        <p:txBody>
          <a:bodyPr spcFirstLastPara="1" wrap="square" lIns="74275" tIns="37125" rIns="74275" bIns="371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63">
              <a:solidFill>
                <a:srgbClr val="00000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2161" name="Google Shape;509;p3">
            <a:extLst>
              <a:ext uri="{FF2B5EF4-FFF2-40B4-BE49-F238E27FC236}">
                <a16:creationId xmlns:a16="http://schemas.microsoft.com/office/drawing/2014/main" id="{28341C35-7BEE-D78C-2CAC-A4CF2B07C36B}"/>
              </a:ext>
            </a:extLst>
          </p:cNvPr>
          <p:cNvSpPr/>
          <p:nvPr/>
        </p:nvSpPr>
        <p:spPr>
          <a:xfrm>
            <a:off x="4044837" y="4571011"/>
            <a:ext cx="93952" cy="104135"/>
          </a:xfrm>
          <a:custGeom>
            <a:avLst/>
            <a:gdLst/>
            <a:ahLst/>
            <a:cxnLst/>
            <a:rect l="l" t="t" r="r" b="b"/>
            <a:pathLst>
              <a:path w="10" h="10" extrusionOk="0">
                <a:moveTo>
                  <a:pt x="9" y="3"/>
                </a:moveTo>
                <a:cubicBezTo>
                  <a:pt x="9" y="3"/>
                  <a:pt x="9" y="3"/>
                  <a:pt x="9" y="3"/>
                </a:cubicBezTo>
                <a:cubicBezTo>
                  <a:pt x="9" y="3"/>
                  <a:pt x="9" y="3"/>
                  <a:pt x="9" y="3"/>
                </a:cubicBezTo>
                <a:cubicBezTo>
                  <a:pt x="8" y="2"/>
                  <a:pt x="8" y="1"/>
                  <a:pt x="7" y="1"/>
                </a:cubicBezTo>
                <a:cubicBezTo>
                  <a:pt x="7" y="0"/>
                  <a:pt x="6" y="1"/>
                  <a:pt x="6" y="1"/>
                </a:cubicBezTo>
                <a:cubicBezTo>
                  <a:pt x="7" y="1"/>
                  <a:pt x="7" y="2"/>
                  <a:pt x="7" y="2"/>
                </a:cubicBezTo>
                <a:cubicBezTo>
                  <a:pt x="6" y="2"/>
                  <a:pt x="6" y="2"/>
                  <a:pt x="5" y="2"/>
                </a:cubicBezTo>
                <a:cubicBezTo>
                  <a:pt x="3" y="2"/>
                  <a:pt x="2" y="4"/>
                  <a:pt x="1" y="5"/>
                </a:cubicBezTo>
                <a:cubicBezTo>
                  <a:pt x="0" y="6"/>
                  <a:pt x="2" y="8"/>
                  <a:pt x="4" y="8"/>
                </a:cubicBezTo>
                <a:cubicBezTo>
                  <a:pt x="5" y="9"/>
                  <a:pt x="8" y="10"/>
                  <a:pt x="9" y="8"/>
                </a:cubicBezTo>
                <a:cubicBezTo>
                  <a:pt x="10" y="7"/>
                  <a:pt x="10" y="5"/>
                  <a:pt x="9" y="3"/>
                </a:cubicBezTo>
                <a:close/>
                <a:moveTo>
                  <a:pt x="8" y="7"/>
                </a:moveTo>
                <a:cubicBezTo>
                  <a:pt x="7" y="8"/>
                  <a:pt x="5" y="8"/>
                  <a:pt x="4" y="8"/>
                </a:cubicBezTo>
                <a:cubicBezTo>
                  <a:pt x="4" y="7"/>
                  <a:pt x="2" y="6"/>
                  <a:pt x="2" y="5"/>
                </a:cubicBezTo>
                <a:cubicBezTo>
                  <a:pt x="2" y="4"/>
                  <a:pt x="4" y="3"/>
                  <a:pt x="5" y="3"/>
                </a:cubicBezTo>
                <a:cubicBezTo>
                  <a:pt x="6" y="2"/>
                  <a:pt x="7" y="3"/>
                  <a:pt x="7" y="3"/>
                </a:cubicBezTo>
                <a:cubicBezTo>
                  <a:pt x="8" y="4"/>
                  <a:pt x="9" y="6"/>
                  <a:pt x="8" y="7"/>
                </a:cubicBezTo>
                <a:close/>
              </a:path>
            </a:pathLst>
          </a:custGeom>
          <a:solidFill>
            <a:srgbClr val="747678"/>
          </a:solidFill>
          <a:ln>
            <a:noFill/>
          </a:ln>
        </p:spPr>
        <p:txBody>
          <a:bodyPr spcFirstLastPara="1" wrap="square" lIns="74275" tIns="37125" rIns="74275" bIns="371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63">
              <a:solidFill>
                <a:srgbClr val="000000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grpSp>
        <p:nvGrpSpPr>
          <p:cNvPr id="2172" name="Google Shape;115;p2">
            <a:extLst>
              <a:ext uri="{FF2B5EF4-FFF2-40B4-BE49-F238E27FC236}">
                <a16:creationId xmlns:a16="http://schemas.microsoft.com/office/drawing/2014/main" id="{15F1F768-E30C-7EBC-A27A-2C2395492070}"/>
              </a:ext>
            </a:extLst>
          </p:cNvPr>
          <p:cNvGrpSpPr/>
          <p:nvPr/>
        </p:nvGrpSpPr>
        <p:grpSpPr>
          <a:xfrm flipH="1">
            <a:off x="7179572" y="2454678"/>
            <a:ext cx="4184614" cy="2544039"/>
            <a:chOff x="273050" y="1953685"/>
            <a:chExt cx="1512792" cy="1426593"/>
          </a:xfrm>
        </p:grpSpPr>
        <p:sp>
          <p:nvSpPr>
            <p:cNvPr id="2173" name="Google Shape;116;p2">
              <a:extLst>
                <a:ext uri="{FF2B5EF4-FFF2-40B4-BE49-F238E27FC236}">
                  <a16:creationId xmlns:a16="http://schemas.microsoft.com/office/drawing/2014/main" id="{E420F45B-C4CB-FF0E-5219-98061FF8183E}"/>
                </a:ext>
              </a:extLst>
            </p:cNvPr>
            <p:cNvSpPr/>
            <p:nvPr/>
          </p:nvSpPr>
          <p:spPr>
            <a:xfrm>
              <a:off x="406658" y="1970924"/>
              <a:ext cx="530124" cy="103439"/>
            </a:xfrm>
            <a:custGeom>
              <a:avLst/>
              <a:gdLst/>
              <a:ahLst/>
              <a:cxnLst/>
              <a:rect l="l" t="t" r="r" b="b"/>
              <a:pathLst>
                <a:path w="52" h="10" extrusionOk="0">
                  <a:moveTo>
                    <a:pt x="52" y="1"/>
                  </a:moveTo>
                  <a:cubicBezTo>
                    <a:pt x="46" y="0"/>
                    <a:pt x="39" y="0"/>
                    <a:pt x="33" y="1"/>
                  </a:cubicBezTo>
                  <a:cubicBezTo>
                    <a:pt x="30" y="1"/>
                    <a:pt x="27" y="1"/>
                    <a:pt x="24" y="1"/>
                  </a:cubicBezTo>
                  <a:cubicBezTo>
                    <a:pt x="20" y="1"/>
                    <a:pt x="16" y="2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1" y="4"/>
                    <a:pt x="9" y="5"/>
                    <a:pt x="7" y="6"/>
                  </a:cubicBezTo>
                  <a:cubicBezTo>
                    <a:pt x="4" y="7"/>
                    <a:pt x="2" y="8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" y="7"/>
                    <a:pt x="8" y="5"/>
                    <a:pt x="12" y="4"/>
                  </a:cubicBezTo>
                  <a:cubicBezTo>
                    <a:pt x="11" y="4"/>
                    <a:pt x="11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5"/>
                    <a:pt x="12" y="4"/>
                    <a:pt x="13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20" y="3"/>
                    <a:pt x="26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3" y="2"/>
                    <a:pt x="33" y="2"/>
                    <a:pt x="34" y="2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40" y="1"/>
                    <a:pt x="46" y="0"/>
                    <a:pt x="52" y="1"/>
                  </a:cubicBezTo>
                  <a:close/>
                  <a:moveTo>
                    <a:pt x="14" y="3"/>
                  </a:moveTo>
                  <a:cubicBezTo>
                    <a:pt x="16" y="2"/>
                    <a:pt x="18" y="2"/>
                    <a:pt x="20" y="2"/>
                  </a:cubicBezTo>
                  <a:cubicBezTo>
                    <a:pt x="18" y="2"/>
                    <a:pt x="16" y="2"/>
                    <a:pt x="14" y="3"/>
                  </a:cubicBezTo>
                  <a:close/>
                  <a:moveTo>
                    <a:pt x="16" y="3"/>
                  </a:moveTo>
                  <a:cubicBezTo>
                    <a:pt x="18" y="2"/>
                    <a:pt x="20" y="2"/>
                    <a:pt x="21" y="2"/>
                  </a:cubicBezTo>
                  <a:cubicBezTo>
                    <a:pt x="22" y="2"/>
                    <a:pt x="23" y="2"/>
                    <a:pt x="24" y="2"/>
                  </a:cubicBezTo>
                  <a:cubicBezTo>
                    <a:pt x="26" y="1"/>
                    <a:pt x="28" y="2"/>
                    <a:pt x="30" y="2"/>
                  </a:cubicBezTo>
                  <a:cubicBezTo>
                    <a:pt x="25" y="2"/>
                    <a:pt x="20" y="3"/>
                    <a:pt x="16" y="3"/>
                  </a:cubicBezTo>
                  <a:close/>
                </a:path>
              </a:pathLst>
            </a:custGeom>
            <a:solidFill>
              <a:srgbClr val="747678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 b="1">
                <a:solidFill>
                  <a:srgbClr val="1E4E79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sp>
          <p:nvSpPr>
            <p:cNvPr id="2174" name="Google Shape;117;p2">
              <a:extLst>
                <a:ext uri="{FF2B5EF4-FFF2-40B4-BE49-F238E27FC236}">
                  <a16:creationId xmlns:a16="http://schemas.microsoft.com/office/drawing/2014/main" id="{91DD5DA7-8A29-6ACF-4216-AAE7BE232EFB}"/>
                </a:ext>
              </a:extLst>
            </p:cNvPr>
            <p:cNvSpPr/>
            <p:nvPr/>
          </p:nvSpPr>
          <p:spPr>
            <a:xfrm>
              <a:off x="285980" y="2022644"/>
              <a:ext cx="969739" cy="1176616"/>
            </a:xfrm>
            <a:custGeom>
              <a:avLst/>
              <a:gdLst/>
              <a:ahLst/>
              <a:cxnLst/>
              <a:rect l="l" t="t" r="r" b="b"/>
              <a:pathLst>
                <a:path w="95" h="115" extrusionOk="0">
                  <a:moveTo>
                    <a:pt x="95" y="112"/>
                  </a:moveTo>
                  <a:cubicBezTo>
                    <a:pt x="88" y="113"/>
                    <a:pt x="82" y="114"/>
                    <a:pt x="75" y="114"/>
                  </a:cubicBezTo>
                  <a:cubicBezTo>
                    <a:pt x="71" y="115"/>
                    <a:pt x="66" y="114"/>
                    <a:pt x="61" y="114"/>
                  </a:cubicBezTo>
                  <a:cubicBezTo>
                    <a:pt x="51" y="114"/>
                    <a:pt x="41" y="113"/>
                    <a:pt x="31" y="110"/>
                  </a:cubicBezTo>
                  <a:cubicBezTo>
                    <a:pt x="27" y="109"/>
                    <a:pt x="23" y="108"/>
                    <a:pt x="20" y="106"/>
                  </a:cubicBezTo>
                  <a:cubicBezTo>
                    <a:pt x="18" y="106"/>
                    <a:pt x="16" y="105"/>
                    <a:pt x="15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3" y="103"/>
                    <a:pt x="13" y="103"/>
                    <a:pt x="13" y="102"/>
                  </a:cubicBezTo>
                  <a:cubicBezTo>
                    <a:pt x="13" y="102"/>
                    <a:pt x="13" y="102"/>
                    <a:pt x="13" y="102"/>
                  </a:cubicBezTo>
                  <a:cubicBezTo>
                    <a:pt x="12" y="102"/>
                    <a:pt x="12" y="101"/>
                    <a:pt x="12" y="101"/>
                  </a:cubicBezTo>
                  <a:cubicBezTo>
                    <a:pt x="11" y="100"/>
                    <a:pt x="10" y="99"/>
                    <a:pt x="10" y="98"/>
                  </a:cubicBezTo>
                  <a:cubicBezTo>
                    <a:pt x="9" y="97"/>
                    <a:pt x="8" y="96"/>
                    <a:pt x="8" y="95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3"/>
                    <a:pt x="7" y="91"/>
                    <a:pt x="7" y="90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8" y="92"/>
                    <a:pt x="9" y="96"/>
                    <a:pt x="11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9" y="94"/>
                    <a:pt x="7" y="89"/>
                    <a:pt x="5" y="84"/>
                  </a:cubicBezTo>
                  <a:cubicBezTo>
                    <a:pt x="5" y="83"/>
                    <a:pt x="5" y="82"/>
                    <a:pt x="4" y="82"/>
                  </a:cubicBezTo>
                  <a:cubicBezTo>
                    <a:pt x="4" y="81"/>
                    <a:pt x="4" y="80"/>
                    <a:pt x="4" y="79"/>
                  </a:cubicBezTo>
                  <a:cubicBezTo>
                    <a:pt x="4" y="77"/>
                    <a:pt x="3" y="75"/>
                    <a:pt x="3" y="73"/>
                  </a:cubicBezTo>
                  <a:cubicBezTo>
                    <a:pt x="3" y="71"/>
                    <a:pt x="3" y="70"/>
                    <a:pt x="3" y="68"/>
                  </a:cubicBezTo>
                  <a:cubicBezTo>
                    <a:pt x="3" y="64"/>
                    <a:pt x="2" y="60"/>
                    <a:pt x="2" y="57"/>
                  </a:cubicBezTo>
                  <a:cubicBezTo>
                    <a:pt x="2" y="55"/>
                    <a:pt x="2" y="54"/>
                    <a:pt x="2" y="53"/>
                  </a:cubicBezTo>
                  <a:cubicBezTo>
                    <a:pt x="2" y="51"/>
                    <a:pt x="2" y="48"/>
                    <a:pt x="2" y="45"/>
                  </a:cubicBezTo>
                  <a:cubicBezTo>
                    <a:pt x="2" y="44"/>
                    <a:pt x="2" y="42"/>
                    <a:pt x="2" y="40"/>
                  </a:cubicBezTo>
                  <a:cubicBezTo>
                    <a:pt x="2" y="35"/>
                    <a:pt x="3" y="30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2" y="30"/>
                    <a:pt x="2" y="35"/>
                    <a:pt x="2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32"/>
                    <a:pt x="1" y="22"/>
                    <a:pt x="5" y="14"/>
                  </a:cubicBezTo>
                  <a:cubicBezTo>
                    <a:pt x="6" y="11"/>
                    <a:pt x="8" y="9"/>
                    <a:pt x="10" y="7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9"/>
                    <a:pt x="8" y="10"/>
                    <a:pt x="8" y="11"/>
                  </a:cubicBezTo>
                  <a:cubicBezTo>
                    <a:pt x="7" y="12"/>
                    <a:pt x="6" y="13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6"/>
                    <a:pt x="5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5" y="16"/>
                    <a:pt x="5" y="17"/>
                  </a:cubicBezTo>
                  <a:cubicBezTo>
                    <a:pt x="3" y="19"/>
                    <a:pt x="3" y="22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4"/>
                    <a:pt x="3" y="23"/>
                    <a:pt x="4" y="21"/>
                  </a:cubicBezTo>
                  <a:cubicBezTo>
                    <a:pt x="3" y="29"/>
                    <a:pt x="3" y="37"/>
                    <a:pt x="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39"/>
                    <a:pt x="3" y="34"/>
                    <a:pt x="3" y="30"/>
                  </a:cubicBezTo>
                  <a:cubicBezTo>
                    <a:pt x="4" y="26"/>
                    <a:pt x="4" y="22"/>
                    <a:pt x="4" y="19"/>
                  </a:cubicBezTo>
                  <a:cubicBezTo>
                    <a:pt x="5" y="17"/>
                    <a:pt x="5" y="16"/>
                    <a:pt x="6" y="15"/>
                  </a:cubicBezTo>
                  <a:cubicBezTo>
                    <a:pt x="8" y="12"/>
                    <a:pt x="10" y="9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3" y="6"/>
                    <a:pt x="14" y="5"/>
                    <a:pt x="15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8" y="2"/>
                    <a:pt x="20" y="1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9" y="1"/>
                    <a:pt x="17" y="2"/>
                    <a:pt x="15" y="3"/>
                  </a:cubicBezTo>
                  <a:cubicBezTo>
                    <a:pt x="14" y="4"/>
                    <a:pt x="12" y="5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4" y="11"/>
                    <a:pt x="2" y="20"/>
                    <a:pt x="1" y="28"/>
                  </a:cubicBezTo>
                  <a:cubicBezTo>
                    <a:pt x="1" y="34"/>
                    <a:pt x="1" y="40"/>
                    <a:pt x="1" y="46"/>
                  </a:cubicBezTo>
                  <a:cubicBezTo>
                    <a:pt x="1" y="46"/>
                    <a:pt x="1" y="47"/>
                    <a:pt x="1" y="47"/>
                  </a:cubicBezTo>
                  <a:cubicBezTo>
                    <a:pt x="1" y="50"/>
                    <a:pt x="1" y="52"/>
                    <a:pt x="1" y="54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1" y="53"/>
                    <a:pt x="1" y="52"/>
                    <a:pt x="1" y="51"/>
                  </a:cubicBezTo>
                  <a:cubicBezTo>
                    <a:pt x="1" y="52"/>
                    <a:pt x="2" y="53"/>
                    <a:pt x="2" y="54"/>
                  </a:cubicBezTo>
                  <a:cubicBezTo>
                    <a:pt x="2" y="54"/>
                    <a:pt x="2" y="55"/>
                    <a:pt x="2" y="56"/>
                  </a:cubicBezTo>
                  <a:cubicBezTo>
                    <a:pt x="2" y="58"/>
                    <a:pt x="2" y="60"/>
                    <a:pt x="2" y="62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2" y="62"/>
                    <a:pt x="1" y="62"/>
                    <a:pt x="1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62"/>
                    <a:pt x="2" y="63"/>
                    <a:pt x="2" y="63"/>
                  </a:cubicBezTo>
                  <a:cubicBezTo>
                    <a:pt x="2" y="66"/>
                    <a:pt x="2" y="69"/>
                    <a:pt x="2" y="72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71"/>
                    <a:pt x="2" y="70"/>
                    <a:pt x="2" y="70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3" y="70"/>
                    <a:pt x="3" y="72"/>
                    <a:pt x="3" y="73"/>
                  </a:cubicBezTo>
                  <a:cubicBezTo>
                    <a:pt x="3" y="75"/>
                    <a:pt x="3" y="77"/>
                    <a:pt x="4" y="79"/>
                  </a:cubicBezTo>
                  <a:cubicBezTo>
                    <a:pt x="3" y="78"/>
                    <a:pt x="2" y="76"/>
                    <a:pt x="2" y="75"/>
                  </a:cubicBezTo>
                  <a:cubicBezTo>
                    <a:pt x="2" y="74"/>
                    <a:pt x="1" y="73"/>
                    <a:pt x="1" y="71"/>
                  </a:cubicBezTo>
                  <a:cubicBezTo>
                    <a:pt x="0" y="60"/>
                    <a:pt x="1" y="48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48"/>
                    <a:pt x="0" y="60"/>
                    <a:pt x="1" y="72"/>
                  </a:cubicBezTo>
                  <a:cubicBezTo>
                    <a:pt x="1" y="72"/>
                    <a:pt x="1" y="73"/>
                    <a:pt x="1" y="74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1" y="74"/>
                    <a:pt x="1" y="74"/>
                    <a:pt x="1" y="74"/>
                  </a:cubicBezTo>
                  <a:cubicBezTo>
                    <a:pt x="2" y="77"/>
                    <a:pt x="2" y="79"/>
                    <a:pt x="2" y="81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2" y="82"/>
                    <a:pt x="3" y="82"/>
                    <a:pt x="3" y="83"/>
                  </a:cubicBezTo>
                  <a:cubicBezTo>
                    <a:pt x="3" y="85"/>
                    <a:pt x="4" y="86"/>
                    <a:pt x="4" y="88"/>
                  </a:cubicBezTo>
                  <a:cubicBezTo>
                    <a:pt x="5" y="90"/>
                    <a:pt x="6" y="92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ubicBezTo>
                    <a:pt x="7" y="95"/>
                    <a:pt x="6" y="94"/>
                    <a:pt x="6" y="94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95"/>
                    <a:pt x="7" y="96"/>
                    <a:pt x="7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7" y="96"/>
                    <a:pt x="6" y="95"/>
                    <a:pt x="5" y="9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6" y="95"/>
                    <a:pt x="6" y="96"/>
                    <a:pt x="7" y="97"/>
                  </a:cubicBezTo>
                  <a:cubicBezTo>
                    <a:pt x="7" y="98"/>
                    <a:pt x="8" y="98"/>
                    <a:pt x="8" y="99"/>
                  </a:cubicBezTo>
                  <a:cubicBezTo>
                    <a:pt x="8" y="100"/>
                    <a:pt x="8" y="100"/>
                    <a:pt x="8" y="100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9" y="99"/>
                    <a:pt x="9" y="100"/>
                    <a:pt x="9" y="100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10" y="100"/>
                    <a:pt x="11" y="101"/>
                    <a:pt x="12" y="102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12" y="102"/>
                    <a:pt x="11" y="102"/>
                    <a:pt x="10" y="101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11" y="102"/>
                    <a:pt x="12" y="103"/>
                    <a:pt x="14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7" y="106"/>
                    <a:pt x="19" y="107"/>
                    <a:pt x="21" y="107"/>
                  </a:cubicBezTo>
                  <a:cubicBezTo>
                    <a:pt x="25" y="109"/>
                    <a:pt x="30" y="110"/>
                    <a:pt x="34" y="111"/>
                  </a:cubicBezTo>
                  <a:cubicBezTo>
                    <a:pt x="44" y="113"/>
                    <a:pt x="54" y="114"/>
                    <a:pt x="64" y="115"/>
                  </a:cubicBezTo>
                  <a:cubicBezTo>
                    <a:pt x="68" y="115"/>
                    <a:pt x="73" y="115"/>
                    <a:pt x="77" y="115"/>
                  </a:cubicBezTo>
                  <a:cubicBezTo>
                    <a:pt x="83" y="115"/>
                    <a:pt x="89" y="113"/>
                    <a:pt x="95" y="112"/>
                  </a:cubicBezTo>
                  <a:close/>
                  <a:moveTo>
                    <a:pt x="5" y="85"/>
                  </a:moveTo>
                  <a:cubicBezTo>
                    <a:pt x="5" y="85"/>
                    <a:pt x="5" y="85"/>
                    <a:pt x="5" y="85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5" y="86"/>
                    <a:pt x="6" y="88"/>
                    <a:pt x="6" y="90"/>
                  </a:cubicBezTo>
                  <a:cubicBezTo>
                    <a:pt x="7" y="91"/>
                    <a:pt x="7" y="93"/>
                    <a:pt x="8" y="94"/>
                  </a:cubicBezTo>
                  <a:cubicBezTo>
                    <a:pt x="7" y="94"/>
                    <a:pt x="7" y="93"/>
                    <a:pt x="7" y="92"/>
                  </a:cubicBezTo>
                  <a:cubicBezTo>
                    <a:pt x="6" y="90"/>
                    <a:pt x="6" y="89"/>
                    <a:pt x="5" y="88"/>
                  </a:cubicBezTo>
                  <a:cubicBezTo>
                    <a:pt x="4" y="85"/>
                    <a:pt x="4" y="83"/>
                    <a:pt x="3" y="80"/>
                  </a:cubicBezTo>
                  <a:cubicBezTo>
                    <a:pt x="3" y="81"/>
                    <a:pt x="4" y="81"/>
                    <a:pt x="4" y="82"/>
                  </a:cubicBezTo>
                  <a:cubicBezTo>
                    <a:pt x="4" y="83"/>
                    <a:pt x="4" y="84"/>
                    <a:pt x="5" y="85"/>
                  </a:cubicBezTo>
                  <a:close/>
                  <a:moveTo>
                    <a:pt x="3" y="78"/>
                  </a:moveTo>
                  <a:cubicBezTo>
                    <a:pt x="2" y="78"/>
                    <a:pt x="2" y="78"/>
                    <a:pt x="2" y="78"/>
                  </a:cubicBezTo>
                  <a:cubicBezTo>
                    <a:pt x="3" y="80"/>
                    <a:pt x="3" y="82"/>
                    <a:pt x="4" y="84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3" y="81"/>
                    <a:pt x="2" y="78"/>
                    <a:pt x="2" y="76"/>
                  </a:cubicBezTo>
                  <a:cubicBezTo>
                    <a:pt x="2" y="77"/>
                    <a:pt x="2" y="77"/>
                    <a:pt x="3" y="78"/>
                  </a:cubicBezTo>
                  <a:close/>
                  <a:moveTo>
                    <a:pt x="4" y="86"/>
                  </a:moveTo>
                  <a:cubicBezTo>
                    <a:pt x="4" y="86"/>
                    <a:pt x="4" y="87"/>
                    <a:pt x="4" y="87"/>
                  </a:cubicBezTo>
                  <a:cubicBezTo>
                    <a:pt x="5" y="87"/>
                    <a:pt x="5" y="88"/>
                    <a:pt x="5" y="89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4" y="87"/>
                    <a:pt x="4" y="86"/>
                    <a:pt x="4" y="86"/>
                  </a:cubicBezTo>
                  <a:close/>
                  <a:moveTo>
                    <a:pt x="8" y="97"/>
                  </a:moveTo>
                  <a:cubicBezTo>
                    <a:pt x="8" y="97"/>
                    <a:pt x="8" y="97"/>
                    <a:pt x="8" y="97"/>
                  </a:cubicBezTo>
                  <a:cubicBezTo>
                    <a:pt x="8" y="96"/>
                    <a:pt x="8" y="96"/>
                    <a:pt x="8" y="95"/>
                  </a:cubicBezTo>
                  <a:cubicBezTo>
                    <a:pt x="9" y="97"/>
                    <a:pt x="9" y="98"/>
                    <a:pt x="10" y="100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10" y="99"/>
                    <a:pt x="9" y="98"/>
                    <a:pt x="8" y="97"/>
                  </a:cubicBezTo>
                  <a:close/>
                </a:path>
              </a:pathLst>
            </a:custGeom>
            <a:solidFill>
              <a:srgbClr val="747678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 b="1">
                <a:solidFill>
                  <a:srgbClr val="1E4E79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sp>
          <p:nvSpPr>
            <p:cNvPr id="2175" name="Google Shape;118;p2">
              <a:extLst>
                <a:ext uri="{FF2B5EF4-FFF2-40B4-BE49-F238E27FC236}">
                  <a16:creationId xmlns:a16="http://schemas.microsoft.com/office/drawing/2014/main" id="{30A3B289-CFAE-A10D-235B-47979FC44BBE}"/>
                </a:ext>
              </a:extLst>
            </p:cNvPr>
            <p:cNvSpPr/>
            <p:nvPr/>
          </p:nvSpPr>
          <p:spPr>
            <a:xfrm>
              <a:off x="712665" y="1962304"/>
              <a:ext cx="1034388" cy="612013"/>
            </a:xfrm>
            <a:custGeom>
              <a:avLst/>
              <a:gdLst/>
              <a:ahLst/>
              <a:cxnLst/>
              <a:rect l="l" t="t" r="r" b="b"/>
              <a:pathLst>
                <a:path w="101" h="60" extrusionOk="0">
                  <a:moveTo>
                    <a:pt x="101" y="36"/>
                  </a:moveTo>
                  <a:cubicBezTo>
                    <a:pt x="100" y="29"/>
                    <a:pt x="97" y="22"/>
                    <a:pt x="92" y="16"/>
                  </a:cubicBezTo>
                  <a:cubicBezTo>
                    <a:pt x="95" y="20"/>
                    <a:pt x="98" y="23"/>
                    <a:pt x="100" y="27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100" y="25"/>
                    <a:pt x="98" y="23"/>
                    <a:pt x="97" y="21"/>
                  </a:cubicBezTo>
                  <a:cubicBezTo>
                    <a:pt x="98" y="21"/>
                    <a:pt x="99" y="22"/>
                    <a:pt x="100" y="23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99" y="21"/>
                    <a:pt x="97" y="20"/>
                    <a:pt x="96" y="19"/>
                  </a:cubicBezTo>
                  <a:cubicBezTo>
                    <a:pt x="96" y="18"/>
                    <a:pt x="94" y="15"/>
                    <a:pt x="93" y="15"/>
                  </a:cubicBezTo>
                  <a:cubicBezTo>
                    <a:pt x="91" y="12"/>
                    <a:pt x="87" y="10"/>
                    <a:pt x="84" y="8"/>
                  </a:cubicBezTo>
                  <a:cubicBezTo>
                    <a:pt x="85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5" y="9"/>
                    <a:pt x="84" y="8"/>
                    <a:pt x="83" y="8"/>
                  </a:cubicBezTo>
                  <a:cubicBezTo>
                    <a:pt x="80" y="7"/>
                    <a:pt x="77" y="6"/>
                    <a:pt x="73" y="5"/>
                  </a:cubicBezTo>
                  <a:cubicBezTo>
                    <a:pt x="73" y="5"/>
                    <a:pt x="72" y="4"/>
                    <a:pt x="71" y="4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2" y="5"/>
                    <a:pt x="73" y="5"/>
                    <a:pt x="74" y="5"/>
                  </a:cubicBezTo>
                  <a:cubicBezTo>
                    <a:pt x="71" y="5"/>
                    <a:pt x="68" y="4"/>
                    <a:pt x="65" y="4"/>
                  </a:cubicBezTo>
                  <a:cubicBezTo>
                    <a:pt x="58" y="3"/>
                    <a:pt x="51" y="2"/>
                    <a:pt x="44" y="1"/>
                  </a:cubicBezTo>
                  <a:cubicBezTo>
                    <a:pt x="30" y="0"/>
                    <a:pt x="16" y="1"/>
                    <a:pt x="2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14" y="1"/>
                    <a:pt x="28" y="1"/>
                    <a:pt x="42" y="2"/>
                  </a:cubicBezTo>
                  <a:cubicBezTo>
                    <a:pt x="49" y="2"/>
                    <a:pt x="56" y="3"/>
                    <a:pt x="63" y="4"/>
                  </a:cubicBezTo>
                  <a:cubicBezTo>
                    <a:pt x="67" y="4"/>
                    <a:pt x="70" y="5"/>
                    <a:pt x="73" y="6"/>
                  </a:cubicBezTo>
                  <a:cubicBezTo>
                    <a:pt x="75" y="6"/>
                    <a:pt x="77" y="6"/>
                    <a:pt x="78" y="7"/>
                  </a:cubicBezTo>
                  <a:cubicBezTo>
                    <a:pt x="80" y="7"/>
                    <a:pt x="81" y="8"/>
                    <a:pt x="83" y="8"/>
                  </a:cubicBezTo>
                  <a:cubicBezTo>
                    <a:pt x="85" y="9"/>
                    <a:pt x="87" y="10"/>
                    <a:pt x="88" y="12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91" y="14"/>
                    <a:pt x="93" y="16"/>
                    <a:pt x="95" y="18"/>
                  </a:cubicBezTo>
                  <a:cubicBezTo>
                    <a:pt x="95" y="18"/>
                    <a:pt x="96" y="19"/>
                    <a:pt x="96" y="19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7" y="21"/>
                    <a:pt x="98" y="22"/>
                    <a:pt x="98" y="23"/>
                  </a:cubicBezTo>
                  <a:cubicBezTo>
                    <a:pt x="96" y="20"/>
                    <a:pt x="94" y="17"/>
                    <a:pt x="91" y="14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6" y="21"/>
                    <a:pt x="99" y="28"/>
                    <a:pt x="100" y="36"/>
                  </a:cubicBezTo>
                  <a:cubicBezTo>
                    <a:pt x="101" y="44"/>
                    <a:pt x="100" y="52"/>
                    <a:pt x="100" y="60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1" y="56"/>
                    <a:pt x="101" y="52"/>
                    <a:pt x="101" y="47"/>
                  </a:cubicBezTo>
                  <a:cubicBezTo>
                    <a:pt x="101" y="44"/>
                    <a:pt x="101" y="40"/>
                    <a:pt x="101" y="36"/>
                  </a:cubicBezTo>
                  <a:close/>
                  <a:moveTo>
                    <a:pt x="93" y="16"/>
                  </a:moveTo>
                  <a:cubicBezTo>
                    <a:pt x="93" y="15"/>
                    <a:pt x="93" y="15"/>
                    <a:pt x="93" y="15"/>
                  </a:cubicBezTo>
                  <a:cubicBezTo>
                    <a:pt x="93" y="15"/>
                    <a:pt x="94" y="16"/>
                    <a:pt x="95" y="17"/>
                  </a:cubicBezTo>
                  <a:cubicBezTo>
                    <a:pt x="94" y="17"/>
                    <a:pt x="94" y="16"/>
                    <a:pt x="93" y="16"/>
                  </a:cubicBezTo>
                  <a:close/>
                </a:path>
              </a:pathLst>
            </a:custGeom>
            <a:solidFill>
              <a:srgbClr val="747678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 b="1">
                <a:solidFill>
                  <a:srgbClr val="1E4E79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sp>
          <p:nvSpPr>
            <p:cNvPr id="2176" name="Google Shape;119;p2">
              <a:extLst>
                <a:ext uri="{FF2B5EF4-FFF2-40B4-BE49-F238E27FC236}">
                  <a16:creationId xmlns:a16="http://schemas.microsoft.com/office/drawing/2014/main" id="{A24DDC41-8B52-07B4-4C85-07EA5082B07A}"/>
                </a:ext>
              </a:extLst>
            </p:cNvPr>
            <p:cNvSpPr/>
            <p:nvPr/>
          </p:nvSpPr>
          <p:spPr>
            <a:xfrm>
              <a:off x="1510005" y="3147541"/>
              <a:ext cx="4310" cy="431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47678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 b="1">
                <a:solidFill>
                  <a:srgbClr val="1E4E79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sp>
          <p:nvSpPr>
            <p:cNvPr id="2177" name="Google Shape;120;p2">
              <a:extLst>
                <a:ext uri="{FF2B5EF4-FFF2-40B4-BE49-F238E27FC236}">
                  <a16:creationId xmlns:a16="http://schemas.microsoft.com/office/drawing/2014/main" id="{2115F56E-2AE1-F78D-DE22-1FDAB66BC6D4}"/>
                </a:ext>
              </a:extLst>
            </p:cNvPr>
            <p:cNvSpPr/>
            <p:nvPr/>
          </p:nvSpPr>
          <p:spPr>
            <a:xfrm>
              <a:off x="1510005" y="3147541"/>
              <a:ext cx="4310" cy="4310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solidFill>
              <a:srgbClr val="747678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 b="1">
                <a:solidFill>
                  <a:srgbClr val="1E4E79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sp>
          <p:nvSpPr>
            <p:cNvPr id="2178" name="Google Shape;121;p2">
              <a:extLst>
                <a:ext uri="{FF2B5EF4-FFF2-40B4-BE49-F238E27FC236}">
                  <a16:creationId xmlns:a16="http://schemas.microsoft.com/office/drawing/2014/main" id="{1E44BE83-637A-7F3A-6C2F-AA00CECEC6EB}"/>
                </a:ext>
              </a:extLst>
            </p:cNvPr>
            <p:cNvSpPr/>
            <p:nvPr/>
          </p:nvSpPr>
          <p:spPr>
            <a:xfrm>
              <a:off x="1247098" y="2246761"/>
              <a:ext cx="517194" cy="1133517"/>
            </a:xfrm>
            <a:custGeom>
              <a:avLst/>
              <a:gdLst/>
              <a:ahLst/>
              <a:cxnLst/>
              <a:rect l="l" t="t" r="r" b="b"/>
              <a:pathLst>
                <a:path w="51" h="111" extrusionOk="0">
                  <a:moveTo>
                    <a:pt x="47" y="64"/>
                  </a:moveTo>
                  <a:cubicBezTo>
                    <a:pt x="48" y="61"/>
                    <a:pt x="49" y="58"/>
                    <a:pt x="50" y="55"/>
                  </a:cubicBezTo>
                  <a:cubicBezTo>
                    <a:pt x="51" y="50"/>
                    <a:pt x="51" y="44"/>
                    <a:pt x="51" y="3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1" y="38"/>
                    <a:pt x="51" y="38"/>
                    <a:pt x="51" y="37"/>
                  </a:cubicBezTo>
                  <a:cubicBezTo>
                    <a:pt x="51" y="36"/>
                    <a:pt x="51" y="35"/>
                    <a:pt x="51" y="33"/>
                  </a:cubicBezTo>
                  <a:cubicBezTo>
                    <a:pt x="51" y="30"/>
                    <a:pt x="51" y="27"/>
                    <a:pt x="51" y="24"/>
                  </a:cubicBezTo>
                  <a:cubicBezTo>
                    <a:pt x="51" y="20"/>
                    <a:pt x="50" y="16"/>
                    <a:pt x="50" y="12"/>
                  </a:cubicBezTo>
                  <a:cubicBezTo>
                    <a:pt x="50" y="8"/>
                    <a:pt x="49" y="4"/>
                    <a:pt x="48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9" y="4"/>
                    <a:pt x="49" y="9"/>
                    <a:pt x="50" y="13"/>
                  </a:cubicBezTo>
                  <a:cubicBezTo>
                    <a:pt x="50" y="17"/>
                    <a:pt x="50" y="21"/>
                    <a:pt x="50" y="25"/>
                  </a:cubicBezTo>
                  <a:cubicBezTo>
                    <a:pt x="50" y="22"/>
                    <a:pt x="50" y="19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50" y="22"/>
                    <a:pt x="50" y="28"/>
                    <a:pt x="50" y="34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6"/>
                    <a:pt x="51" y="36"/>
                  </a:cubicBezTo>
                  <a:cubicBezTo>
                    <a:pt x="51" y="37"/>
                    <a:pt x="51" y="38"/>
                    <a:pt x="50" y="40"/>
                  </a:cubicBezTo>
                  <a:cubicBezTo>
                    <a:pt x="48" y="46"/>
                    <a:pt x="48" y="54"/>
                    <a:pt x="47" y="61"/>
                  </a:cubicBezTo>
                  <a:cubicBezTo>
                    <a:pt x="46" y="65"/>
                    <a:pt x="45" y="71"/>
                    <a:pt x="43" y="75"/>
                  </a:cubicBezTo>
                  <a:cubicBezTo>
                    <a:pt x="42" y="76"/>
                    <a:pt x="42" y="77"/>
                    <a:pt x="41" y="77"/>
                  </a:cubicBezTo>
                  <a:cubicBezTo>
                    <a:pt x="41" y="78"/>
                    <a:pt x="40" y="79"/>
                    <a:pt x="39" y="80"/>
                  </a:cubicBezTo>
                  <a:cubicBezTo>
                    <a:pt x="37" y="81"/>
                    <a:pt x="36" y="83"/>
                    <a:pt x="34" y="84"/>
                  </a:cubicBezTo>
                  <a:cubicBezTo>
                    <a:pt x="33" y="84"/>
                    <a:pt x="32" y="85"/>
                    <a:pt x="31" y="86"/>
                  </a:cubicBezTo>
                  <a:cubicBezTo>
                    <a:pt x="31" y="86"/>
                    <a:pt x="30" y="86"/>
                    <a:pt x="30" y="86"/>
                  </a:cubicBezTo>
                  <a:cubicBezTo>
                    <a:pt x="29" y="87"/>
                    <a:pt x="28" y="87"/>
                    <a:pt x="28" y="87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9" y="88"/>
                    <a:pt x="30" y="87"/>
                    <a:pt x="32" y="87"/>
                  </a:cubicBezTo>
                  <a:cubicBezTo>
                    <a:pt x="30" y="88"/>
                    <a:pt x="28" y="89"/>
                    <a:pt x="26" y="90"/>
                  </a:cubicBezTo>
                  <a:cubicBezTo>
                    <a:pt x="26" y="89"/>
                    <a:pt x="26" y="89"/>
                    <a:pt x="26" y="88"/>
                  </a:cubicBezTo>
                  <a:cubicBezTo>
                    <a:pt x="26" y="88"/>
                    <a:pt x="26" y="88"/>
                    <a:pt x="26" y="88"/>
                  </a:cubicBezTo>
                  <a:cubicBezTo>
                    <a:pt x="26" y="89"/>
                    <a:pt x="26" y="89"/>
                    <a:pt x="25" y="90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1"/>
                    <a:pt x="25" y="91"/>
                    <a:pt x="25" y="91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1"/>
                    <a:pt x="25" y="92"/>
                    <a:pt x="24" y="92"/>
                  </a:cubicBezTo>
                  <a:cubicBezTo>
                    <a:pt x="24" y="91"/>
                    <a:pt x="24" y="90"/>
                    <a:pt x="25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9"/>
                    <a:pt x="24" y="91"/>
                    <a:pt x="24" y="92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4" y="94"/>
                    <a:pt x="24" y="96"/>
                    <a:pt x="24" y="98"/>
                  </a:cubicBezTo>
                  <a:cubicBezTo>
                    <a:pt x="24" y="99"/>
                    <a:pt x="24" y="100"/>
                    <a:pt x="24" y="101"/>
                  </a:cubicBezTo>
                  <a:cubicBezTo>
                    <a:pt x="24" y="102"/>
                    <a:pt x="24" y="104"/>
                    <a:pt x="24" y="105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23" y="105"/>
                    <a:pt x="23" y="105"/>
                    <a:pt x="23" y="105"/>
                  </a:cubicBezTo>
                  <a:cubicBezTo>
                    <a:pt x="23" y="106"/>
                    <a:pt x="23" y="107"/>
                    <a:pt x="23" y="109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0" y="106"/>
                    <a:pt x="16" y="102"/>
                    <a:pt x="13" y="99"/>
                  </a:cubicBezTo>
                  <a:cubicBezTo>
                    <a:pt x="10" y="98"/>
                    <a:pt x="8" y="96"/>
                    <a:pt x="6" y="94"/>
                  </a:cubicBezTo>
                  <a:cubicBezTo>
                    <a:pt x="5" y="94"/>
                    <a:pt x="4" y="93"/>
                    <a:pt x="3" y="92"/>
                  </a:cubicBezTo>
                  <a:cubicBezTo>
                    <a:pt x="2" y="92"/>
                    <a:pt x="1" y="91"/>
                    <a:pt x="0" y="9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" y="91"/>
                    <a:pt x="2" y="92"/>
                    <a:pt x="3" y="92"/>
                  </a:cubicBezTo>
                  <a:cubicBezTo>
                    <a:pt x="4" y="93"/>
                    <a:pt x="4" y="94"/>
                    <a:pt x="5" y="94"/>
                  </a:cubicBezTo>
                  <a:cubicBezTo>
                    <a:pt x="8" y="96"/>
                    <a:pt x="10" y="98"/>
                    <a:pt x="12" y="99"/>
                  </a:cubicBezTo>
                  <a:cubicBezTo>
                    <a:pt x="16" y="103"/>
                    <a:pt x="20" y="107"/>
                    <a:pt x="24" y="111"/>
                  </a:cubicBezTo>
                  <a:cubicBezTo>
                    <a:pt x="24" y="111"/>
                    <a:pt x="24" y="111"/>
                    <a:pt x="24" y="111"/>
                  </a:cubicBezTo>
                  <a:cubicBezTo>
                    <a:pt x="25" y="109"/>
                    <a:pt x="25" y="108"/>
                    <a:pt x="25" y="107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08"/>
                    <a:pt x="25" y="109"/>
                    <a:pt x="24" y="110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24" y="109"/>
                    <a:pt x="24" y="108"/>
                    <a:pt x="2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24" y="103"/>
                    <a:pt x="24" y="98"/>
                    <a:pt x="24" y="94"/>
                  </a:cubicBezTo>
                  <a:cubicBezTo>
                    <a:pt x="25" y="93"/>
                    <a:pt x="25" y="92"/>
                    <a:pt x="25" y="90"/>
                  </a:cubicBezTo>
                  <a:cubicBezTo>
                    <a:pt x="28" y="90"/>
                    <a:pt x="31" y="88"/>
                    <a:pt x="34" y="86"/>
                  </a:cubicBezTo>
                  <a:cubicBezTo>
                    <a:pt x="35" y="85"/>
                    <a:pt x="36" y="85"/>
                    <a:pt x="37" y="84"/>
                  </a:cubicBezTo>
                  <a:cubicBezTo>
                    <a:pt x="40" y="82"/>
                    <a:pt x="41" y="79"/>
                    <a:pt x="43" y="76"/>
                  </a:cubicBezTo>
                  <a:cubicBezTo>
                    <a:pt x="44" y="74"/>
                    <a:pt x="46" y="72"/>
                    <a:pt x="47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71"/>
                    <a:pt x="45" y="72"/>
                    <a:pt x="44" y="73"/>
                  </a:cubicBezTo>
                  <a:cubicBezTo>
                    <a:pt x="45" y="70"/>
                    <a:pt x="46" y="67"/>
                    <a:pt x="47" y="64"/>
                  </a:cubicBezTo>
                  <a:close/>
                  <a:moveTo>
                    <a:pt x="48" y="53"/>
                  </a:moveTo>
                  <a:cubicBezTo>
                    <a:pt x="49" y="49"/>
                    <a:pt x="49" y="45"/>
                    <a:pt x="50" y="41"/>
                  </a:cubicBezTo>
                  <a:cubicBezTo>
                    <a:pt x="50" y="45"/>
                    <a:pt x="50" y="49"/>
                    <a:pt x="49" y="53"/>
                  </a:cubicBezTo>
                  <a:cubicBezTo>
                    <a:pt x="49" y="54"/>
                    <a:pt x="49" y="55"/>
                    <a:pt x="49" y="56"/>
                  </a:cubicBezTo>
                  <a:cubicBezTo>
                    <a:pt x="48" y="58"/>
                    <a:pt x="48" y="60"/>
                    <a:pt x="47" y="62"/>
                  </a:cubicBezTo>
                  <a:cubicBezTo>
                    <a:pt x="47" y="59"/>
                    <a:pt x="48" y="56"/>
                    <a:pt x="48" y="53"/>
                  </a:cubicBezTo>
                  <a:close/>
                  <a:moveTo>
                    <a:pt x="33" y="86"/>
                  </a:moveTo>
                  <a:cubicBezTo>
                    <a:pt x="32" y="86"/>
                    <a:pt x="31" y="87"/>
                    <a:pt x="30" y="87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2" y="86"/>
                    <a:pt x="33" y="85"/>
                    <a:pt x="34" y="85"/>
                  </a:cubicBezTo>
                  <a:cubicBezTo>
                    <a:pt x="35" y="84"/>
                    <a:pt x="36" y="83"/>
                    <a:pt x="38" y="82"/>
                  </a:cubicBezTo>
                  <a:cubicBezTo>
                    <a:pt x="36" y="83"/>
                    <a:pt x="35" y="84"/>
                    <a:pt x="33" y="86"/>
                  </a:cubicBezTo>
                  <a:close/>
                  <a:moveTo>
                    <a:pt x="39" y="82"/>
                  </a:moveTo>
                  <a:cubicBezTo>
                    <a:pt x="38" y="83"/>
                    <a:pt x="37" y="83"/>
                    <a:pt x="36" y="84"/>
                  </a:cubicBezTo>
                  <a:cubicBezTo>
                    <a:pt x="38" y="82"/>
                    <a:pt x="39" y="80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0" y="80"/>
                    <a:pt x="39" y="81"/>
                    <a:pt x="39" y="82"/>
                  </a:cubicBezTo>
                  <a:close/>
                </a:path>
              </a:pathLst>
            </a:custGeom>
            <a:solidFill>
              <a:srgbClr val="747678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 b="1">
                <a:solidFill>
                  <a:srgbClr val="1E4E79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sp>
          <p:nvSpPr>
            <p:cNvPr id="2179" name="Google Shape;122;p2">
              <a:extLst>
                <a:ext uri="{FF2B5EF4-FFF2-40B4-BE49-F238E27FC236}">
                  <a16:creationId xmlns:a16="http://schemas.microsoft.com/office/drawing/2014/main" id="{6F043E6A-4720-F9A6-A330-4174632593AF}"/>
                </a:ext>
              </a:extLst>
            </p:cNvPr>
            <p:cNvSpPr/>
            <p:nvPr/>
          </p:nvSpPr>
          <p:spPr>
            <a:xfrm>
              <a:off x="346319" y="2095913"/>
              <a:ext cx="60339" cy="224117"/>
            </a:xfrm>
            <a:custGeom>
              <a:avLst/>
              <a:gdLst/>
              <a:ahLst/>
              <a:cxnLst/>
              <a:rect l="l" t="t" r="r" b="b"/>
              <a:pathLst>
                <a:path w="6" h="22" extrusionOk="0">
                  <a:moveTo>
                    <a:pt x="5" y="0"/>
                  </a:moveTo>
                  <a:cubicBezTo>
                    <a:pt x="4" y="4"/>
                    <a:pt x="2" y="7"/>
                    <a:pt x="2" y="11"/>
                  </a:cubicBezTo>
                  <a:cubicBezTo>
                    <a:pt x="1" y="14"/>
                    <a:pt x="0" y="18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18"/>
                    <a:pt x="1" y="15"/>
                    <a:pt x="2" y="11"/>
                  </a:cubicBezTo>
                  <a:cubicBezTo>
                    <a:pt x="3" y="7"/>
                    <a:pt x="4" y="4"/>
                    <a:pt x="6" y="1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747678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 b="1">
                <a:solidFill>
                  <a:srgbClr val="1E4E79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sp>
          <p:nvSpPr>
            <p:cNvPr id="2180" name="Google Shape;123;p2">
              <a:extLst>
                <a:ext uri="{FF2B5EF4-FFF2-40B4-BE49-F238E27FC236}">
                  <a16:creationId xmlns:a16="http://schemas.microsoft.com/office/drawing/2014/main" id="{816C90E5-7F87-FD8B-34BD-0F4AAFD65829}"/>
                </a:ext>
              </a:extLst>
            </p:cNvPr>
            <p:cNvSpPr/>
            <p:nvPr/>
          </p:nvSpPr>
          <p:spPr>
            <a:xfrm>
              <a:off x="273050" y="2229521"/>
              <a:ext cx="103439" cy="775791"/>
            </a:xfrm>
            <a:custGeom>
              <a:avLst/>
              <a:gdLst/>
              <a:ahLst/>
              <a:cxnLst/>
              <a:rect l="l" t="t" r="r" b="b"/>
              <a:pathLst>
                <a:path w="10" h="76" extrusionOk="0">
                  <a:moveTo>
                    <a:pt x="9" y="75"/>
                  </a:moveTo>
                  <a:cubicBezTo>
                    <a:pt x="6" y="71"/>
                    <a:pt x="5" y="67"/>
                    <a:pt x="4" y="62"/>
                  </a:cubicBezTo>
                  <a:cubicBezTo>
                    <a:pt x="3" y="56"/>
                    <a:pt x="2" y="51"/>
                    <a:pt x="2" y="46"/>
                  </a:cubicBezTo>
                  <a:cubicBezTo>
                    <a:pt x="1" y="35"/>
                    <a:pt x="1" y="25"/>
                    <a:pt x="2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2" y="18"/>
                    <a:pt x="2" y="18"/>
                    <a:pt x="3" y="18"/>
                  </a:cubicBezTo>
                  <a:cubicBezTo>
                    <a:pt x="3" y="12"/>
                    <a:pt x="3" y="6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4"/>
                    <a:pt x="2" y="8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0" y="24"/>
                    <a:pt x="0" y="36"/>
                    <a:pt x="1" y="48"/>
                  </a:cubicBezTo>
                  <a:cubicBezTo>
                    <a:pt x="2" y="53"/>
                    <a:pt x="2" y="59"/>
                    <a:pt x="3" y="64"/>
                  </a:cubicBezTo>
                  <a:cubicBezTo>
                    <a:pt x="4" y="68"/>
                    <a:pt x="5" y="73"/>
                    <a:pt x="9" y="76"/>
                  </a:cubicBezTo>
                  <a:cubicBezTo>
                    <a:pt x="9" y="76"/>
                    <a:pt x="10" y="75"/>
                    <a:pt x="9" y="75"/>
                  </a:cubicBezTo>
                  <a:close/>
                </a:path>
              </a:pathLst>
            </a:custGeom>
            <a:solidFill>
              <a:srgbClr val="747678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 b="1">
                <a:solidFill>
                  <a:srgbClr val="1E4E79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sp>
          <p:nvSpPr>
            <p:cNvPr id="2181" name="Google Shape;124;p2">
              <a:extLst>
                <a:ext uri="{FF2B5EF4-FFF2-40B4-BE49-F238E27FC236}">
                  <a16:creationId xmlns:a16="http://schemas.microsoft.com/office/drawing/2014/main" id="{2EB83C3F-BBDD-A4E2-F6C5-933073411885}"/>
                </a:ext>
              </a:extLst>
            </p:cNvPr>
            <p:cNvSpPr/>
            <p:nvPr/>
          </p:nvSpPr>
          <p:spPr>
            <a:xfrm>
              <a:off x="337699" y="2970833"/>
              <a:ext cx="1150756" cy="400825"/>
            </a:xfrm>
            <a:custGeom>
              <a:avLst/>
              <a:gdLst/>
              <a:ahLst/>
              <a:cxnLst/>
              <a:rect l="l" t="t" r="r" b="b"/>
              <a:pathLst>
                <a:path w="113" h="39" extrusionOk="0">
                  <a:moveTo>
                    <a:pt x="113" y="38"/>
                  </a:moveTo>
                  <a:cubicBezTo>
                    <a:pt x="112" y="37"/>
                    <a:pt x="110" y="36"/>
                    <a:pt x="109" y="35"/>
                  </a:cubicBezTo>
                  <a:cubicBezTo>
                    <a:pt x="107" y="33"/>
                    <a:pt x="105" y="32"/>
                    <a:pt x="103" y="30"/>
                  </a:cubicBezTo>
                  <a:cubicBezTo>
                    <a:pt x="102" y="29"/>
                    <a:pt x="101" y="29"/>
                    <a:pt x="100" y="28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98" y="26"/>
                    <a:pt x="97" y="25"/>
                    <a:pt x="95" y="24"/>
                  </a:cubicBezTo>
                  <a:cubicBezTo>
                    <a:pt x="94" y="23"/>
                    <a:pt x="93" y="22"/>
                    <a:pt x="92" y="20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3" y="20"/>
                    <a:pt x="93" y="19"/>
                    <a:pt x="93" y="19"/>
                  </a:cubicBezTo>
                  <a:cubicBezTo>
                    <a:pt x="79" y="21"/>
                    <a:pt x="65" y="22"/>
                    <a:pt x="51" y="21"/>
                  </a:cubicBezTo>
                  <a:cubicBezTo>
                    <a:pt x="45" y="20"/>
                    <a:pt x="38" y="19"/>
                    <a:pt x="32" y="18"/>
                  </a:cubicBezTo>
                  <a:cubicBezTo>
                    <a:pt x="27" y="16"/>
                    <a:pt x="22" y="15"/>
                    <a:pt x="16" y="13"/>
                  </a:cubicBezTo>
                  <a:cubicBezTo>
                    <a:pt x="14" y="12"/>
                    <a:pt x="11" y="10"/>
                    <a:pt x="9" y="9"/>
                  </a:cubicBezTo>
                  <a:cubicBezTo>
                    <a:pt x="5" y="7"/>
                    <a:pt x="3" y="4"/>
                    <a:pt x="1" y="1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2" y="6"/>
                    <a:pt x="7" y="9"/>
                    <a:pt x="12" y="1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13"/>
                    <a:pt x="14" y="14"/>
                    <a:pt x="15" y="14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9" y="19"/>
                    <a:pt x="40" y="21"/>
                    <a:pt x="51" y="22"/>
                  </a:cubicBezTo>
                  <a:cubicBezTo>
                    <a:pt x="63" y="23"/>
                    <a:pt x="77" y="23"/>
                    <a:pt x="90" y="21"/>
                  </a:cubicBezTo>
                  <a:cubicBezTo>
                    <a:pt x="91" y="23"/>
                    <a:pt x="93" y="24"/>
                    <a:pt x="95" y="26"/>
                  </a:cubicBezTo>
                  <a:cubicBezTo>
                    <a:pt x="97" y="27"/>
                    <a:pt x="98" y="28"/>
                    <a:pt x="100" y="30"/>
                  </a:cubicBezTo>
                  <a:cubicBezTo>
                    <a:pt x="103" y="32"/>
                    <a:pt x="105" y="34"/>
                    <a:pt x="108" y="35"/>
                  </a:cubicBezTo>
                  <a:cubicBezTo>
                    <a:pt x="109" y="36"/>
                    <a:pt x="111" y="38"/>
                    <a:pt x="112" y="39"/>
                  </a:cubicBezTo>
                  <a:cubicBezTo>
                    <a:pt x="113" y="39"/>
                    <a:pt x="113" y="38"/>
                    <a:pt x="113" y="38"/>
                  </a:cubicBezTo>
                  <a:close/>
                  <a:moveTo>
                    <a:pt x="91" y="20"/>
                  </a:moveTo>
                  <a:cubicBezTo>
                    <a:pt x="91" y="20"/>
                    <a:pt x="91" y="20"/>
                    <a:pt x="91" y="20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91" y="20"/>
                    <a:pt x="91" y="20"/>
                    <a:pt x="91" y="20"/>
                  </a:cubicBezTo>
                  <a:close/>
                </a:path>
              </a:pathLst>
            </a:custGeom>
            <a:solidFill>
              <a:srgbClr val="747678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 b="1">
                <a:solidFill>
                  <a:srgbClr val="1E4E79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sp>
          <p:nvSpPr>
            <p:cNvPr id="2182" name="Google Shape;125;p2">
              <a:extLst>
                <a:ext uri="{FF2B5EF4-FFF2-40B4-BE49-F238E27FC236}">
                  <a16:creationId xmlns:a16="http://schemas.microsoft.com/office/drawing/2014/main" id="{F17E6117-797B-BEAC-8DAA-DFCFAF0CBF44}"/>
                </a:ext>
              </a:extLst>
            </p:cNvPr>
            <p:cNvSpPr/>
            <p:nvPr/>
          </p:nvSpPr>
          <p:spPr>
            <a:xfrm>
              <a:off x="1510005" y="2983763"/>
              <a:ext cx="185328" cy="172398"/>
            </a:xfrm>
            <a:custGeom>
              <a:avLst/>
              <a:gdLst/>
              <a:ahLst/>
              <a:cxnLst/>
              <a:rect l="l" t="t" r="r" b="b"/>
              <a:pathLst>
                <a:path w="18" h="17" extrusionOk="0">
                  <a:moveTo>
                    <a:pt x="12" y="9"/>
                  </a:moveTo>
                  <a:cubicBezTo>
                    <a:pt x="12" y="9"/>
                    <a:pt x="12" y="9"/>
                    <a:pt x="12" y="9"/>
                  </a:cubicBezTo>
                  <a:cubicBezTo>
                    <a:pt x="15" y="7"/>
                    <a:pt x="17" y="4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1"/>
                    <a:pt x="17" y="2"/>
                    <a:pt x="16" y="3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7"/>
                    <a:pt x="9" y="10"/>
                    <a:pt x="6" y="14"/>
                  </a:cubicBezTo>
                  <a:cubicBezTo>
                    <a:pt x="4" y="15"/>
                    <a:pt x="2" y="16"/>
                    <a:pt x="0" y="1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" y="17"/>
                    <a:pt x="3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10" y="14"/>
                    <a:pt x="13" y="11"/>
                    <a:pt x="16" y="8"/>
                  </a:cubicBezTo>
                  <a:cubicBezTo>
                    <a:pt x="16" y="7"/>
                    <a:pt x="16" y="7"/>
                    <a:pt x="15" y="7"/>
                  </a:cubicBezTo>
                  <a:cubicBezTo>
                    <a:pt x="13" y="9"/>
                    <a:pt x="11" y="11"/>
                    <a:pt x="9" y="12"/>
                  </a:cubicBezTo>
                  <a:cubicBezTo>
                    <a:pt x="10" y="12"/>
                    <a:pt x="11" y="11"/>
                    <a:pt x="12" y="9"/>
                  </a:cubicBezTo>
                  <a:close/>
                </a:path>
              </a:pathLst>
            </a:custGeom>
            <a:solidFill>
              <a:srgbClr val="747678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 b="1">
                <a:solidFill>
                  <a:srgbClr val="1E4E79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sp>
          <p:nvSpPr>
            <p:cNvPr id="2183" name="Google Shape;126;p2">
              <a:extLst>
                <a:ext uri="{FF2B5EF4-FFF2-40B4-BE49-F238E27FC236}">
                  <a16:creationId xmlns:a16="http://schemas.microsoft.com/office/drawing/2014/main" id="{E348BEC9-64FE-9F21-578B-BB601A677361}"/>
                </a:ext>
              </a:extLst>
            </p:cNvPr>
            <p:cNvSpPr/>
            <p:nvPr/>
          </p:nvSpPr>
          <p:spPr>
            <a:xfrm>
              <a:off x="367869" y="1953685"/>
              <a:ext cx="702522" cy="163778"/>
            </a:xfrm>
            <a:custGeom>
              <a:avLst/>
              <a:gdLst/>
              <a:ahLst/>
              <a:cxnLst/>
              <a:rect l="l" t="t" r="r" b="b"/>
              <a:pathLst>
                <a:path w="69" h="16" extrusionOk="0">
                  <a:moveTo>
                    <a:pt x="69" y="1"/>
                  </a:moveTo>
                  <a:cubicBezTo>
                    <a:pt x="56" y="0"/>
                    <a:pt x="43" y="1"/>
                    <a:pt x="30" y="3"/>
                  </a:cubicBezTo>
                  <a:cubicBezTo>
                    <a:pt x="24" y="4"/>
                    <a:pt x="18" y="5"/>
                    <a:pt x="13" y="7"/>
                  </a:cubicBezTo>
                  <a:cubicBezTo>
                    <a:pt x="8" y="9"/>
                    <a:pt x="3" y="11"/>
                    <a:pt x="0" y="15"/>
                  </a:cubicBezTo>
                  <a:cubicBezTo>
                    <a:pt x="0" y="16"/>
                    <a:pt x="0" y="16"/>
                    <a:pt x="1" y="16"/>
                  </a:cubicBezTo>
                  <a:cubicBezTo>
                    <a:pt x="9" y="7"/>
                    <a:pt x="21" y="5"/>
                    <a:pt x="32" y="3"/>
                  </a:cubicBezTo>
                  <a:cubicBezTo>
                    <a:pt x="44" y="2"/>
                    <a:pt x="57" y="1"/>
                    <a:pt x="69" y="2"/>
                  </a:cubicBezTo>
                  <a:cubicBezTo>
                    <a:pt x="69" y="2"/>
                    <a:pt x="69" y="1"/>
                    <a:pt x="69" y="1"/>
                  </a:cubicBezTo>
                  <a:close/>
                </a:path>
              </a:pathLst>
            </a:custGeom>
            <a:solidFill>
              <a:srgbClr val="747678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 b="1">
                <a:solidFill>
                  <a:srgbClr val="1E4E79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sp>
          <p:nvSpPr>
            <p:cNvPr id="2184" name="Google Shape;127;p2">
              <a:extLst>
                <a:ext uri="{FF2B5EF4-FFF2-40B4-BE49-F238E27FC236}">
                  <a16:creationId xmlns:a16="http://schemas.microsoft.com/office/drawing/2014/main" id="{DCB6F395-478B-FDC6-DEE6-2891E97BE2C6}"/>
                </a:ext>
              </a:extLst>
            </p:cNvPr>
            <p:cNvSpPr/>
            <p:nvPr/>
          </p:nvSpPr>
          <p:spPr>
            <a:xfrm>
              <a:off x="1234169" y="1970924"/>
              <a:ext cx="418065" cy="112059"/>
            </a:xfrm>
            <a:custGeom>
              <a:avLst/>
              <a:gdLst/>
              <a:ahLst/>
              <a:cxnLst/>
              <a:rect l="l" t="t" r="r" b="b"/>
              <a:pathLst>
                <a:path w="41" h="11" extrusionOk="0">
                  <a:moveTo>
                    <a:pt x="40" y="11"/>
                  </a:moveTo>
                  <a:cubicBezTo>
                    <a:pt x="34" y="8"/>
                    <a:pt x="27" y="6"/>
                    <a:pt x="20" y="4"/>
                  </a:cubicBezTo>
                  <a:cubicBezTo>
                    <a:pt x="14" y="2"/>
                    <a:pt x="6" y="0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7" y="2"/>
                    <a:pt x="14" y="3"/>
                    <a:pt x="20" y="5"/>
                  </a:cubicBezTo>
                  <a:cubicBezTo>
                    <a:pt x="27" y="6"/>
                    <a:pt x="34" y="9"/>
                    <a:pt x="40" y="11"/>
                  </a:cubicBezTo>
                  <a:cubicBezTo>
                    <a:pt x="40" y="11"/>
                    <a:pt x="41" y="11"/>
                    <a:pt x="40" y="11"/>
                  </a:cubicBezTo>
                  <a:close/>
                </a:path>
              </a:pathLst>
            </a:custGeom>
            <a:solidFill>
              <a:srgbClr val="747678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 b="1">
                <a:solidFill>
                  <a:srgbClr val="1E4E79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sp>
          <p:nvSpPr>
            <p:cNvPr id="2185" name="Google Shape;128;p2">
              <a:extLst>
                <a:ext uri="{FF2B5EF4-FFF2-40B4-BE49-F238E27FC236}">
                  <a16:creationId xmlns:a16="http://schemas.microsoft.com/office/drawing/2014/main" id="{CE2DEAF3-329E-5B68-BAB5-B029E94FD1C8}"/>
                </a:ext>
              </a:extLst>
            </p:cNvPr>
            <p:cNvSpPr/>
            <p:nvPr/>
          </p:nvSpPr>
          <p:spPr>
            <a:xfrm>
              <a:off x="1682403" y="2147632"/>
              <a:ext cx="103439" cy="538744"/>
            </a:xfrm>
            <a:custGeom>
              <a:avLst/>
              <a:gdLst/>
              <a:ahLst/>
              <a:cxnLst/>
              <a:rect l="l" t="t" r="r" b="b"/>
              <a:pathLst>
                <a:path w="10" h="53" extrusionOk="0">
                  <a:moveTo>
                    <a:pt x="7" y="33"/>
                  </a:moveTo>
                  <a:cubicBezTo>
                    <a:pt x="7" y="24"/>
                    <a:pt x="5" y="14"/>
                    <a:pt x="3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4"/>
                    <a:pt x="1" y="2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4"/>
                    <a:pt x="2" y="8"/>
                    <a:pt x="3" y="12"/>
                  </a:cubicBezTo>
                  <a:cubicBezTo>
                    <a:pt x="3" y="14"/>
                    <a:pt x="4" y="15"/>
                    <a:pt x="4" y="17"/>
                  </a:cubicBezTo>
                  <a:cubicBezTo>
                    <a:pt x="4" y="17"/>
                    <a:pt x="4" y="18"/>
                    <a:pt x="5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6" y="27"/>
                    <a:pt x="6" y="32"/>
                    <a:pt x="5" y="38"/>
                  </a:cubicBezTo>
                  <a:cubicBezTo>
                    <a:pt x="5" y="38"/>
                    <a:pt x="6" y="38"/>
                    <a:pt x="6" y="38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42"/>
                    <a:pt x="7" y="48"/>
                    <a:pt x="9" y="53"/>
                  </a:cubicBezTo>
                  <a:cubicBezTo>
                    <a:pt x="9" y="53"/>
                    <a:pt x="10" y="53"/>
                    <a:pt x="9" y="53"/>
                  </a:cubicBezTo>
                  <a:cubicBezTo>
                    <a:pt x="9" y="46"/>
                    <a:pt x="7" y="40"/>
                    <a:pt x="7" y="33"/>
                  </a:cubicBezTo>
                  <a:close/>
                </a:path>
              </a:pathLst>
            </a:custGeom>
            <a:solidFill>
              <a:srgbClr val="747678"/>
            </a:solidFill>
            <a:ln>
              <a:noFill/>
            </a:ln>
          </p:spPr>
          <p:txBody>
            <a:bodyPr spcFirstLastPara="1" wrap="square" lIns="74275" tIns="37125" rIns="74275" bIns="3712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63" b="1">
                <a:solidFill>
                  <a:srgbClr val="1E4E79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</p:grpSp>
      <p:sp>
        <p:nvSpPr>
          <p:cNvPr id="5" name="Google Shape;521;p3">
            <a:extLst>
              <a:ext uri="{FF2B5EF4-FFF2-40B4-BE49-F238E27FC236}">
                <a16:creationId xmlns:a16="http://schemas.microsoft.com/office/drawing/2014/main" id="{1C337CAB-7AB9-9112-6D24-07E5E1038366}"/>
              </a:ext>
            </a:extLst>
          </p:cNvPr>
          <p:cNvSpPr/>
          <p:nvPr/>
        </p:nvSpPr>
        <p:spPr>
          <a:xfrm>
            <a:off x="1415483" y="1072393"/>
            <a:ext cx="8841850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</a:pPr>
            <a:r>
              <a:rPr lang="en-US" sz="1600" i="1">
                <a:solidFill>
                  <a:srgbClr val="000000"/>
                </a:solidFill>
                <a:latin typeface="+mj-lt"/>
                <a:ea typeface="Trebuchet MS"/>
                <a:cs typeface="Trebuchet MS"/>
                <a:sym typeface="Trebuchet MS"/>
              </a:rPr>
              <a:t>Inventory is ordered using </a:t>
            </a:r>
            <a:r>
              <a:rPr lang="en-IN" sz="1600" b="1" i="1">
                <a:solidFill>
                  <a:srgbClr val="C00000"/>
                </a:solidFill>
                <a:latin typeface="+mj-lt"/>
                <a:ea typeface="Trebuchet MS"/>
                <a:cs typeface="Trebuchet MS"/>
              </a:rPr>
              <a:t>experience and intuition</a:t>
            </a:r>
            <a:r>
              <a:rPr lang="en-IN" sz="1600" i="1">
                <a:solidFill>
                  <a:srgbClr val="000000"/>
                </a:solidFill>
                <a:latin typeface="+mj-lt"/>
                <a:ea typeface="Trebuchet MS"/>
                <a:cs typeface="Trebuchet MS"/>
              </a:rPr>
              <a:t>. </a:t>
            </a:r>
            <a:r>
              <a:rPr lang="en-IN" sz="1600" b="1" i="1">
                <a:solidFill>
                  <a:srgbClr val="C00000"/>
                </a:solidFill>
                <a:latin typeface="+mj-lt"/>
                <a:ea typeface="Trebuchet MS"/>
                <a:cs typeface="Trebuchet MS"/>
              </a:rPr>
              <a:t>Overstocking</a:t>
            </a:r>
            <a:r>
              <a:rPr lang="en-IN" sz="1600" i="1">
                <a:solidFill>
                  <a:srgbClr val="000000"/>
                </a:solidFill>
                <a:latin typeface="+mj-lt"/>
                <a:ea typeface="Trebuchet MS"/>
                <a:cs typeface="Trebuchet MS"/>
              </a:rPr>
              <a:t> seems to be a common trait. Use </a:t>
            </a:r>
            <a:r>
              <a:rPr lang="en-IN" sz="1600" b="1" i="1">
                <a:solidFill>
                  <a:srgbClr val="C00000"/>
                </a:solidFill>
                <a:latin typeface="+mj-lt"/>
                <a:ea typeface="Trebuchet MS"/>
                <a:cs typeface="Trebuchet MS"/>
              </a:rPr>
              <a:t>time-based inventory replenishment </a:t>
            </a:r>
            <a:r>
              <a:rPr lang="en-IN" sz="1600" i="1">
                <a:solidFill>
                  <a:srgbClr val="000000"/>
                </a:solidFill>
                <a:latin typeface="+mj-lt"/>
                <a:ea typeface="Trebuchet MS"/>
                <a:cs typeface="Trebuchet MS"/>
              </a:rPr>
              <a:t>methodology</a:t>
            </a:r>
            <a:endParaRPr lang="en-IN" sz="1600" i="1">
              <a:solidFill>
                <a:srgbClr val="000000"/>
              </a:solidFill>
              <a:latin typeface="+mj-lt"/>
              <a:ea typeface="Trebuchet MS"/>
              <a:cs typeface="Trebuchet MS"/>
              <a:sym typeface="Trebuchet MS"/>
            </a:endParaRPr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50A9452-4192-C8B8-C32D-65F63B9BF2E6}"/>
              </a:ext>
            </a:extLst>
          </p:cNvPr>
          <p:cNvSpPr/>
          <p:nvPr/>
        </p:nvSpPr>
        <p:spPr>
          <a:xfrm>
            <a:off x="0" y="6565900"/>
            <a:ext cx="2400300" cy="292100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PAIN POINTS/GAPS</a:t>
            </a: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CED2ABBA-1734-E57F-20E4-0F2CC43D5D26}"/>
              </a:ext>
            </a:extLst>
          </p:cNvPr>
          <p:cNvSpPr/>
          <p:nvPr/>
        </p:nvSpPr>
        <p:spPr>
          <a:xfrm>
            <a:off x="2287424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ETHOD COMPARISON &amp; DATA</a:t>
            </a: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A6F18A54-128E-7555-07AA-7C91BBF31E4F}"/>
              </a:ext>
            </a:extLst>
          </p:cNvPr>
          <p:cNvSpPr/>
          <p:nvPr/>
        </p:nvSpPr>
        <p:spPr>
          <a:xfrm>
            <a:off x="4251682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PREPARTION</a:t>
            </a:r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A0722498-2D27-697D-97C7-C73FA4BBCDB2}"/>
              </a:ext>
            </a:extLst>
          </p:cNvPr>
          <p:cNvSpPr/>
          <p:nvPr/>
        </p:nvSpPr>
        <p:spPr>
          <a:xfrm>
            <a:off x="6215940" y="6561469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ODEL EVALUATION &amp; PREDICTION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A493FF92-E09B-8305-06BD-B6FBA46B4BE8}"/>
              </a:ext>
            </a:extLst>
          </p:cNvPr>
          <p:cNvSpPr/>
          <p:nvPr/>
        </p:nvSpPr>
        <p:spPr>
          <a:xfrm>
            <a:off x="8180198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INVENTORY REPLENISHMENT</a:t>
            </a:r>
          </a:p>
        </p:txBody>
      </p:sp>
      <p:sp>
        <p:nvSpPr>
          <p:cNvPr id="2050" name="Arrow: Chevron 2049">
            <a:extLst>
              <a:ext uri="{FF2B5EF4-FFF2-40B4-BE49-F238E27FC236}">
                <a16:creationId xmlns:a16="http://schemas.microsoft.com/office/drawing/2014/main" id="{763341B6-D420-9CFD-242D-FE87BAD29CD2}"/>
              </a:ext>
            </a:extLst>
          </p:cNvPr>
          <p:cNvSpPr/>
          <p:nvPr/>
        </p:nvSpPr>
        <p:spPr>
          <a:xfrm>
            <a:off x="10144455" y="6561104"/>
            <a:ext cx="2047545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BENEFITS TO EBs and TBH</a:t>
            </a:r>
          </a:p>
        </p:txBody>
      </p:sp>
      <p:sp>
        <p:nvSpPr>
          <p:cNvPr id="2147" name="Rectangle 2146">
            <a:extLst>
              <a:ext uri="{FF2B5EF4-FFF2-40B4-BE49-F238E27FC236}">
                <a16:creationId xmlns:a16="http://schemas.microsoft.com/office/drawing/2014/main" id="{F76C3BC2-E280-407C-2D50-E3CDD7E3AD76}"/>
              </a:ext>
            </a:extLst>
          </p:cNvPr>
          <p:cNvSpPr/>
          <p:nvPr/>
        </p:nvSpPr>
        <p:spPr>
          <a:xfrm>
            <a:off x="1415482" y="1072393"/>
            <a:ext cx="8995719" cy="584569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48" name="Rectangle 2147">
            <a:extLst>
              <a:ext uri="{FF2B5EF4-FFF2-40B4-BE49-F238E27FC236}">
                <a16:creationId xmlns:a16="http://schemas.microsoft.com/office/drawing/2014/main" id="{A2538AD5-5693-D053-19B1-D0E7E61A29CD}"/>
              </a:ext>
            </a:extLst>
          </p:cNvPr>
          <p:cNvSpPr/>
          <p:nvPr/>
        </p:nvSpPr>
        <p:spPr>
          <a:xfrm>
            <a:off x="0" y="1714885"/>
            <a:ext cx="12192000" cy="4845854"/>
          </a:xfrm>
          <a:prstGeom prst="rect">
            <a:avLst/>
          </a:prstGeom>
          <a:solidFill>
            <a:schemeClr val="tx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49" name="Callout: Bent Line 2148">
            <a:extLst>
              <a:ext uri="{FF2B5EF4-FFF2-40B4-BE49-F238E27FC236}">
                <a16:creationId xmlns:a16="http://schemas.microsoft.com/office/drawing/2014/main" id="{7ED2236D-95CB-D637-7301-9B87E84E9F7E}"/>
              </a:ext>
            </a:extLst>
          </p:cNvPr>
          <p:cNvSpPr/>
          <p:nvPr/>
        </p:nvSpPr>
        <p:spPr>
          <a:xfrm>
            <a:off x="6458029" y="1887415"/>
            <a:ext cx="3319017" cy="1143595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3168"/>
              <a:gd name="adj6" fmla="val -43952"/>
            </a:avLst>
          </a:prstGeom>
          <a:solidFill>
            <a:schemeClr val="bg2">
              <a:lumMod val="90000"/>
            </a:schemeClr>
          </a:solidFill>
          <a:ln w="28575">
            <a:solidFill>
              <a:srgbClr val="44BF3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 i="1" u="sng">
                <a:solidFill>
                  <a:srgbClr val="C00000"/>
                </a:solidFill>
              </a:rPr>
              <a:t>Solutioning through:</a:t>
            </a:r>
          </a:p>
          <a:p>
            <a:pPr marL="342900" indent="-342900">
              <a:buAutoNum type="arabicPeriod"/>
            </a:pPr>
            <a:r>
              <a:rPr lang="en-GB" sz="1200" b="1">
                <a:solidFill>
                  <a:srgbClr val="C00000"/>
                </a:solidFill>
              </a:rPr>
              <a:t>Scientific demand forecasting</a:t>
            </a:r>
          </a:p>
          <a:p>
            <a:pPr marL="342900" indent="-342900">
              <a:buAutoNum type="arabicPeriod"/>
            </a:pPr>
            <a:r>
              <a:rPr lang="en-GB" sz="1200" b="1">
                <a:solidFill>
                  <a:srgbClr val="C00000"/>
                </a:solidFill>
              </a:rPr>
              <a:t>Finding optimal re-order point and safety stock</a:t>
            </a:r>
          </a:p>
        </p:txBody>
      </p:sp>
    </p:spTree>
    <p:extLst>
      <p:ext uri="{BB962C8B-B14F-4D97-AF65-F5344CB8AC3E}">
        <p14:creationId xmlns:p14="http://schemas.microsoft.com/office/powerpoint/2010/main" val="952818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48" grpId="0" animBg="1"/>
      <p:bldP spid="214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8D0DE0-522F-29B0-8202-964439F707B1}"/>
              </a:ext>
            </a:extLst>
          </p:cNvPr>
          <p:cNvSpPr txBox="1">
            <a:spLocks/>
          </p:cNvSpPr>
          <p:nvPr/>
        </p:nvSpPr>
        <p:spPr>
          <a:xfrm>
            <a:off x="510271" y="459609"/>
            <a:ext cx="10933350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>
                <a:solidFill>
                  <a:schemeClr val="accent1">
                    <a:lumMod val="75000"/>
                  </a:schemeClr>
                </a:solidFill>
              </a:rPr>
              <a:t>REPLENISHMENT</a:t>
            </a: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 OF INVENTORY</a:t>
            </a:r>
            <a:endParaRPr lang="en-IN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E8D9B9-955A-6113-C245-58EB11C8FCB8}"/>
              </a:ext>
            </a:extLst>
          </p:cNvPr>
          <p:cNvSpPr/>
          <p:nvPr/>
        </p:nvSpPr>
        <p:spPr>
          <a:xfrm>
            <a:off x="1867791" y="1174043"/>
            <a:ext cx="3239911" cy="632178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TIME BASE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EEFADB0-F7AB-9CA6-E903-11F51C18EB28}"/>
              </a:ext>
            </a:extLst>
          </p:cNvPr>
          <p:cNvSpPr/>
          <p:nvPr/>
        </p:nvSpPr>
        <p:spPr>
          <a:xfrm>
            <a:off x="5976946" y="1174043"/>
            <a:ext cx="3239911" cy="63217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/>
              <a:t>INVENTORY BASE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1B275B-2969-F746-6B0A-FC2CA4567ED5}"/>
              </a:ext>
            </a:extLst>
          </p:cNvPr>
          <p:cNvSpPr txBox="1"/>
          <p:nvPr/>
        </p:nvSpPr>
        <p:spPr>
          <a:xfrm>
            <a:off x="3996266" y="2492435"/>
            <a:ext cx="4199467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i="0">
                <a:solidFill>
                  <a:srgbClr val="0D0D0D"/>
                </a:solidFill>
                <a:effectLst/>
                <a:latin typeface="+mj-lt"/>
              </a:rPr>
              <a:t>Better Adaptation to Demand Vari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>
              <a:solidFill>
                <a:srgbClr val="0D0D0D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i="0">
                <a:solidFill>
                  <a:srgbClr val="0D0D0D"/>
                </a:solidFill>
                <a:effectLst/>
                <a:latin typeface="+mj-lt"/>
              </a:rPr>
              <a:t>Reduced Risk of Stockou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>
              <a:solidFill>
                <a:srgbClr val="0D0D0D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i="0">
                <a:solidFill>
                  <a:srgbClr val="0D0D0D"/>
                </a:solidFill>
                <a:effectLst/>
                <a:latin typeface="+mj-lt"/>
              </a:rPr>
              <a:t>Optimized Inventory Holding Co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>
              <a:solidFill>
                <a:srgbClr val="0D0D0D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i="0">
                <a:solidFill>
                  <a:srgbClr val="0D0D0D"/>
                </a:solidFill>
                <a:effectLst/>
                <a:latin typeface="+mj-lt"/>
              </a:rPr>
              <a:t>Improved Supply Chain Responsiveness</a:t>
            </a:r>
          </a:p>
          <a:p>
            <a:endParaRPr lang="en-GB" sz="1400">
              <a:solidFill>
                <a:srgbClr val="0D0D0D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i="0">
                <a:solidFill>
                  <a:srgbClr val="0D0D0D"/>
                </a:solidFill>
                <a:effectLst/>
                <a:latin typeface="+mj-lt"/>
              </a:rPr>
              <a:t>Customer Service Improvements</a:t>
            </a:r>
            <a:endParaRPr lang="en-GB" sz="1400">
              <a:latin typeface="+mj-lt"/>
            </a:endParaRPr>
          </a:p>
        </p:txBody>
      </p:sp>
      <p:sp>
        <p:nvSpPr>
          <p:cNvPr id="11" name="Google Shape;521;p3">
            <a:extLst>
              <a:ext uri="{FF2B5EF4-FFF2-40B4-BE49-F238E27FC236}">
                <a16:creationId xmlns:a16="http://schemas.microsoft.com/office/drawing/2014/main" id="{20466316-95E0-F8F8-C0C9-F7116D0BFC86}"/>
              </a:ext>
            </a:extLst>
          </p:cNvPr>
          <p:cNvSpPr/>
          <p:nvPr/>
        </p:nvSpPr>
        <p:spPr>
          <a:xfrm>
            <a:off x="312635" y="2013938"/>
            <a:ext cx="10679190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i="1">
                <a:solidFill>
                  <a:srgbClr val="00B050"/>
                </a:solidFill>
                <a:latin typeface="+mj-lt"/>
                <a:ea typeface="Trebuchet MS"/>
                <a:cs typeface="Trebuchet MS"/>
                <a:sym typeface="Trebuchet MS"/>
              </a:rPr>
              <a:t>INVENTORY BASED REPLENISHMENT is better because</a:t>
            </a:r>
            <a:endParaRPr sz="1600" b="1" i="1">
              <a:solidFill>
                <a:srgbClr val="00B050"/>
              </a:solidFill>
              <a:latin typeface="+mj-lt"/>
              <a:ea typeface="Trebuchet MS"/>
              <a:cs typeface="Trebuchet MS"/>
              <a:sym typeface="Trebuchet MS"/>
            </a:endParaRPr>
          </a:p>
        </p:txBody>
      </p:sp>
      <p:sp>
        <p:nvSpPr>
          <p:cNvPr id="14" name="Google Shape;521;p3">
            <a:extLst>
              <a:ext uri="{FF2B5EF4-FFF2-40B4-BE49-F238E27FC236}">
                <a16:creationId xmlns:a16="http://schemas.microsoft.com/office/drawing/2014/main" id="{8E6266DD-3106-4F1F-B503-1E69C6BC9F76}"/>
              </a:ext>
            </a:extLst>
          </p:cNvPr>
          <p:cNvSpPr/>
          <p:nvPr/>
        </p:nvSpPr>
        <p:spPr>
          <a:xfrm>
            <a:off x="408670" y="4602783"/>
            <a:ext cx="10679190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i="1">
                <a:solidFill>
                  <a:srgbClr val="C00000"/>
                </a:solidFill>
                <a:latin typeface="+mj-lt"/>
                <a:ea typeface="Trebuchet MS"/>
                <a:cs typeface="Trebuchet MS"/>
                <a:sym typeface="Trebuchet MS"/>
              </a:rPr>
              <a:t>with limitations of</a:t>
            </a:r>
            <a:endParaRPr sz="1600" b="1" i="1">
              <a:solidFill>
                <a:srgbClr val="C00000"/>
              </a:solidFill>
              <a:latin typeface="+mj-lt"/>
              <a:ea typeface="Trebuchet MS"/>
              <a:cs typeface="Trebuchet MS"/>
              <a:sym typeface="Trebuchet M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9F973C9-310D-4206-0B4F-AEC3EF19A4E3}"/>
              </a:ext>
            </a:extLst>
          </p:cNvPr>
          <p:cNvSpPr txBox="1"/>
          <p:nvPr/>
        </p:nvSpPr>
        <p:spPr>
          <a:xfrm>
            <a:off x="3917243" y="5014350"/>
            <a:ext cx="419946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i="0">
                <a:solidFill>
                  <a:srgbClr val="0D0D0D"/>
                </a:solidFill>
                <a:effectLst/>
                <a:latin typeface="+mj-lt"/>
              </a:rPr>
              <a:t>Requires accurate demand forec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>
              <a:solidFill>
                <a:srgbClr val="0D0D0D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i="0">
                <a:solidFill>
                  <a:srgbClr val="0D0D0D"/>
                </a:solidFill>
                <a:effectLst/>
                <a:latin typeface="+mj-lt"/>
              </a:rPr>
              <a:t>Requires regular monitoring of inventory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C5BB716-D4EF-2D11-75FC-A6295401C5C0}"/>
              </a:ext>
            </a:extLst>
          </p:cNvPr>
          <p:cNvCxnSpPr/>
          <p:nvPr/>
        </p:nvCxnSpPr>
        <p:spPr>
          <a:xfrm>
            <a:off x="7337255" y="5179689"/>
            <a:ext cx="77945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3094BD27-6FB6-5BA1-1259-E933C0DFFEF2}"/>
              </a:ext>
            </a:extLst>
          </p:cNvPr>
          <p:cNvSpPr txBox="1"/>
          <p:nvPr/>
        </p:nvSpPr>
        <p:spPr>
          <a:xfrm>
            <a:off x="8207022" y="5036928"/>
            <a:ext cx="3759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i="1">
                <a:latin typeface="+mj-lt"/>
              </a:rPr>
              <a:t>Addressed through our forecasting model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1E00C20-33A0-A16D-C725-BED33D95C930}"/>
              </a:ext>
            </a:extLst>
          </p:cNvPr>
          <p:cNvCxnSpPr/>
          <p:nvPr/>
        </p:nvCxnSpPr>
        <p:spPr>
          <a:xfrm>
            <a:off x="7602544" y="5601351"/>
            <a:ext cx="77945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9BEAD4-CBCA-5627-72B9-42D2BAEAB373}"/>
              </a:ext>
            </a:extLst>
          </p:cNvPr>
          <p:cNvSpPr txBox="1"/>
          <p:nvPr/>
        </p:nvSpPr>
        <p:spPr>
          <a:xfrm>
            <a:off x="8381999" y="5440336"/>
            <a:ext cx="34939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i="1">
                <a:latin typeface="+mj-lt"/>
              </a:rPr>
              <a:t>Classify inventory and keep count in their system which they currently do</a:t>
            </a:r>
          </a:p>
        </p:txBody>
      </p:sp>
      <p:sp>
        <p:nvSpPr>
          <p:cNvPr id="24" name="Arrow: Pentagon 23">
            <a:extLst>
              <a:ext uri="{FF2B5EF4-FFF2-40B4-BE49-F238E27FC236}">
                <a16:creationId xmlns:a16="http://schemas.microsoft.com/office/drawing/2014/main" id="{58A08633-A178-97B1-1632-D695409FBA71}"/>
              </a:ext>
            </a:extLst>
          </p:cNvPr>
          <p:cNvSpPr/>
          <p:nvPr/>
        </p:nvSpPr>
        <p:spPr>
          <a:xfrm>
            <a:off x="0" y="6565900"/>
            <a:ext cx="2400300" cy="2921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PAIN POINTS/GAPS</a:t>
            </a:r>
          </a:p>
        </p:txBody>
      </p: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AE45BE5E-B76E-12D8-1E2E-D368E95B672F}"/>
              </a:ext>
            </a:extLst>
          </p:cNvPr>
          <p:cNvSpPr/>
          <p:nvPr/>
        </p:nvSpPr>
        <p:spPr>
          <a:xfrm>
            <a:off x="2287424" y="6561104"/>
            <a:ext cx="2077134" cy="296896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ETHOD COMPARISON &amp; DATA</a:t>
            </a: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EF0B122D-BEA5-47F7-6582-6D0B864E6F07}"/>
              </a:ext>
            </a:extLst>
          </p:cNvPr>
          <p:cNvSpPr/>
          <p:nvPr/>
        </p:nvSpPr>
        <p:spPr>
          <a:xfrm>
            <a:off x="4251682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PREPARTION</a:t>
            </a: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D58F443B-1CAE-E2E3-A005-35C270760B3E}"/>
              </a:ext>
            </a:extLst>
          </p:cNvPr>
          <p:cNvSpPr/>
          <p:nvPr/>
        </p:nvSpPr>
        <p:spPr>
          <a:xfrm>
            <a:off x="6215940" y="6561469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ODEL EVALUATION &amp; PREDICTION</a:t>
            </a:r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534289CA-8101-37C5-4486-E446B2FEB1BE}"/>
              </a:ext>
            </a:extLst>
          </p:cNvPr>
          <p:cNvSpPr/>
          <p:nvPr/>
        </p:nvSpPr>
        <p:spPr>
          <a:xfrm>
            <a:off x="8180198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INVENTORY REPLENISHMENT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89728739-4896-9E9E-E0C9-B435DE28B8BF}"/>
              </a:ext>
            </a:extLst>
          </p:cNvPr>
          <p:cNvSpPr/>
          <p:nvPr/>
        </p:nvSpPr>
        <p:spPr>
          <a:xfrm>
            <a:off x="10144455" y="6561104"/>
            <a:ext cx="2047545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BENEFITS TO EBs and TBH</a:t>
            </a:r>
          </a:p>
        </p:txBody>
      </p:sp>
    </p:spTree>
    <p:extLst>
      <p:ext uri="{BB962C8B-B14F-4D97-AF65-F5344CB8AC3E}">
        <p14:creationId xmlns:p14="http://schemas.microsoft.com/office/powerpoint/2010/main" val="18158651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>
            <a:extLst>
              <a:ext uri="{FF2B5EF4-FFF2-40B4-BE49-F238E27FC236}">
                <a16:creationId xmlns:a16="http://schemas.microsoft.com/office/drawing/2014/main" id="{09D9F8EF-5FE7-BFC4-5F46-CC56444002E9}"/>
              </a:ext>
            </a:extLst>
          </p:cNvPr>
          <p:cNvSpPr/>
          <p:nvPr/>
        </p:nvSpPr>
        <p:spPr>
          <a:xfrm>
            <a:off x="3144308" y="1115716"/>
            <a:ext cx="6372749" cy="12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38D0DE0-522F-29B0-8202-964439F707B1}"/>
              </a:ext>
            </a:extLst>
          </p:cNvPr>
          <p:cNvSpPr txBox="1">
            <a:spLocks/>
          </p:cNvSpPr>
          <p:nvPr/>
        </p:nvSpPr>
        <p:spPr>
          <a:xfrm>
            <a:off x="510271" y="459609"/>
            <a:ext cx="10933350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DEMAND </a:t>
            </a:r>
            <a:r>
              <a:rPr lang="en-IN">
                <a:solidFill>
                  <a:schemeClr val="accent1">
                    <a:lumMod val="75000"/>
                  </a:schemeClr>
                </a:solidFill>
              </a:rPr>
              <a:t>FORECASTING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9752D76-9706-0FED-1013-03E923078ACD}"/>
              </a:ext>
            </a:extLst>
          </p:cNvPr>
          <p:cNvSpPr/>
          <p:nvPr/>
        </p:nvSpPr>
        <p:spPr>
          <a:xfrm rot="16200000">
            <a:off x="2280148" y="1525509"/>
            <a:ext cx="1162755" cy="49112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6D64140-1685-B7BE-1AF9-A46EAC360764}"/>
              </a:ext>
            </a:extLst>
          </p:cNvPr>
          <p:cNvSpPr/>
          <p:nvPr/>
        </p:nvSpPr>
        <p:spPr>
          <a:xfrm>
            <a:off x="1825799" y="1189694"/>
            <a:ext cx="733778" cy="506871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AFE942-54D7-E14C-D20C-F76E12B9DC99}"/>
              </a:ext>
            </a:extLst>
          </p:cNvPr>
          <p:cNvSpPr txBox="1"/>
          <p:nvPr/>
        </p:nvSpPr>
        <p:spPr>
          <a:xfrm rot="16200000">
            <a:off x="160688" y="3532194"/>
            <a:ext cx="406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>
                <a:latin typeface="+mj-lt"/>
              </a:rPr>
              <a:t>DEMAND FORECASTING TECHNIQUE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D918466-6220-186B-123E-1EB1E886545B}"/>
              </a:ext>
            </a:extLst>
          </p:cNvPr>
          <p:cNvSpPr/>
          <p:nvPr/>
        </p:nvSpPr>
        <p:spPr>
          <a:xfrm rot="16200000">
            <a:off x="2280149" y="2827494"/>
            <a:ext cx="1162755" cy="49112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E3FFDC7-1DCF-57E2-C0FC-8621BA779B17}"/>
              </a:ext>
            </a:extLst>
          </p:cNvPr>
          <p:cNvSpPr/>
          <p:nvPr/>
        </p:nvSpPr>
        <p:spPr>
          <a:xfrm rot="16200000">
            <a:off x="2280120" y="4129479"/>
            <a:ext cx="1162755" cy="49112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A9E56AC-59BE-62D8-B480-32D54330889C}"/>
              </a:ext>
            </a:extLst>
          </p:cNvPr>
          <p:cNvSpPr/>
          <p:nvPr/>
        </p:nvSpPr>
        <p:spPr>
          <a:xfrm rot="16200000">
            <a:off x="2280121" y="5431464"/>
            <a:ext cx="1162755" cy="49112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EDEA24-81EE-30A7-C50B-E47F1D2094C8}"/>
              </a:ext>
            </a:extLst>
          </p:cNvPr>
          <p:cNvSpPr txBox="1"/>
          <p:nvPr/>
        </p:nvSpPr>
        <p:spPr>
          <a:xfrm rot="16200000">
            <a:off x="2241705" y="1533497"/>
            <a:ext cx="12395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solidFill>
                  <a:schemeClr val="bg1"/>
                </a:solidFill>
                <a:latin typeface="+mj-lt"/>
              </a:rPr>
              <a:t>AI/ML MODEL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60F9146-BFBF-14FB-D820-13435699CDB1}"/>
              </a:ext>
            </a:extLst>
          </p:cNvPr>
          <p:cNvSpPr txBox="1"/>
          <p:nvPr/>
        </p:nvSpPr>
        <p:spPr>
          <a:xfrm rot="16200000">
            <a:off x="2334683" y="2830623"/>
            <a:ext cx="10536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>
                <a:solidFill>
                  <a:schemeClr val="bg1"/>
                </a:solidFill>
                <a:latin typeface="+mj-lt"/>
              </a:rPr>
              <a:t>TIME SE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5D0E83D-BB61-0265-9374-EE903B20A2D3}"/>
              </a:ext>
            </a:extLst>
          </p:cNvPr>
          <p:cNvSpPr txBox="1"/>
          <p:nvPr/>
        </p:nvSpPr>
        <p:spPr>
          <a:xfrm rot="16200000">
            <a:off x="2237166" y="4139183"/>
            <a:ext cx="12192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b="1">
                <a:solidFill>
                  <a:schemeClr val="bg1"/>
                </a:solidFill>
                <a:latin typeface="+mj-lt"/>
              </a:rPr>
              <a:t>CAUSAL &amp; SCENARIO </a:t>
            </a:r>
            <a:endParaRPr lang="en-GB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DC848A9-9496-0034-A81B-D312A7393E96}"/>
              </a:ext>
            </a:extLst>
          </p:cNvPr>
          <p:cNvSpPr txBox="1"/>
          <p:nvPr/>
        </p:nvSpPr>
        <p:spPr>
          <a:xfrm rot="16200000">
            <a:off x="2240607" y="5534118"/>
            <a:ext cx="12192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b="1">
                <a:solidFill>
                  <a:schemeClr val="bg1"/>
                </a:solidFill>
                <a:latin typeface="+mj-lt"/>
              </a:rPr>
              <a:t>QUALITATIVE </a:t>
            </a:r>
            <a:endParaRPr lang="en-GB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3AC432ED-D7F1-03B7-2CB0-4D003FEA7800}"/>
              </a:ext>
            </a:extLst>
          </p:cNvPr>
          <p:cNvSpPr/>
          <p:nvPr/>
        </p:nvSpPr>
        <p:spPr>
          <a:xfrm>
            <a:off x="3178176" y="1818577"/>
            <a:ext cx="2220557" cy="533394"/>
          </a:xfrm>
          <a:prstGeom prst="roundRect">
            <a:avLst/>
          </a:prstGeom>
          <a:noFill/>
          <a:ln>
            <a:solidFill>
              <a:srgbClr val="9769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E640124F-8CB0-5124-1AFB-188F6616D85F}"/>
              </a:ext>
            </a:extLst>
          </p:cNvPr>
          <p:cNvSpPr/>
          <p:nvPr/>
        </p:nvSpPr>
        <p:spPr>
          <a:xfrm>
            <a:off x="3178176" y="1196403"/>
            <a:ext cx="2220557" cy="533394"/>
          </a:xfrm>
          <a:prstGeom prst="roundRect">
            <a:avLst/>
          </a:prstGeom>
          <a:noFill/>
          <a:ln>
            <a:solidFill>
              <a:srgbClr val="9769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3E996384-FEE6-2EDF-D937-8036B57F85F5}"/>
              </a:ext>
            </a:extLst>
          </p:cNvPr>
          <p:cNvSpPr/>
          <p:nvPr/>
        </p:nvSpPr>
        <p:spPr>
          <a:xfrm>
            <a:off x="3178176" y="3113853"/>
            <a:ext cx="2220557" cy="533394"/>
          </a:xfrm>
          <a:prstGeom prst="roundRect">
            <a:avLst/>
          </a:prstGeom>
          <a:noFill/>
          <a:ln>
            <a:solidFill>
              <a:srgbClr val="9769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C25FF3A6-4CB4-3214-8757-62258F2B9945}"/>
              </a:ext>
            </a:extLst>
          </p:cNvPr>
          <p:cNvSpPr/>
          <p:nvPr/>
        </p:nvSpPr>
        <p:spPr>
          <a:xfrm>
            <a:off x="3178176" y="2491679"/>
            <a:ext cx="2220557" cy="533394"/>
          </a:xfrm>
          <a:prstGeom prst="roundRect">
            <a:avLst/>
          </a:prstGeom>
          <a:noFill/>
          <a:ln>
            <a:solidFill>
              <a:srgbClr val="9769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3CB94971-7B72-112B-B1B7-A07CB5A93C0B}"/>
              </a:ext>
            </a:extLst>
          </p:cNvPr>
          <p:cNvSpPr/>
          <p:nvPr/>
        </p:nvSpPr>
        <p:spPr>
          <a:xfrm>
            <a:off x="3178176" y="4417688"/>
            <a:ext cx="2220557" cy="533394"/>
          </a:xfrm>
          <a:prstGeom prst="roundRect">
            <a:avLst/>
          </a:prstGeom>
          <a:noFill/>
          <a:ln>
            <a:solidFill>
              <a:srgbClr val="9769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8160B74-E12D-E1AB-7E53-05D9BAF650D8}"/>
              </a:ext>
            </a:extLst>
          </p:cNvPr>
          <p:cNvSpPr/>
          <p:nvPr/>
        </p:nvSpPr>
        <p:spPr>
          <a:xfrm>
            <a:off x="3178176" y="3795514"/>
            <a:ext cx="2220557" cy="533394"/>
          </a:xfrm>
          <a:prstGeom prst="roundRect">
            <a:avLst/>
          </a:prstGeom>
          <a:noFill/>
          <a:ln>
            <a:solidFill>
              <a:srgbClr val="9769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DA40B032-5990-225A-F71B-99745A976917}"/>
              </a:ext>
            </a:extLst>
          </p:cNvPr>
          <p:cNvSpPr/>
          <p:nvPr/>
        </p:nvSpPr>
        <p:spPr>
          <a:xfrm>
            <a:off x="3178176" y="5717823"/>
            <a:ext cx="2220557" cy="533394"/>
          </a:xfrm>
          <a:prstGeom prst="roundRect">
            <a:avLst/>
          </a:prstGeom>
          <a:noFill/>
          <a:ln>
            <a:solidFill>
              <a:srgbClr val="9769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01D70C89-ADC0-D888-EF21-B881B20BF12D}"/>
              </a:ext>
            </a:extLst>
          </p:cNvPr>
          <p:cNvSpPr/>
          <p:nvPr/>
        </p:nvSpPr>
        <p:spPr>
          <a:xfrm>
            <a:off x="3178176" y="5095649"/>
            <a:ext cx="2220557" cy="533394"/>
          </a:xfrm>
          <a:prstGeom prst="roundRect">
            <a:avLst/>
          </a:prstGeom>
          <a:noFill/>
          <a:ln>
            <a:solidFill>
              <a:srgbClr val="9769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875522B7-D4A1-42B1-E953-9FBEF8AEE6BD}"/>
              </a:ext>
            </a:extLst>
          </p:cNvPr>
          <p:cNvGrpSpPr/>
          <p:nvPr/>
        </p:nvGrpSpPr>
        <p:grpSpPr>
          <a:xfrm>
            <a:off x="3178177" y="2417990"/>
            <a:ext cx="6380512" cy="2610832"/>
            <a:chOff x="1928110" y="2487438"/>
            <a:chExt cx="9515511" cy="2610832"/>
          </a:xfrm>
        </p:grpSpPr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BE7A9ECB-35B8-7340-6036-2A3506F00E45}"/>
                </a:ext>
              </a:extLst>
            </p:cNvPr>
            <p:cNvCxnSpPr>
              <a:cxnSpLocks/>
            </p:cNvCxnSpPr>
            <p:nvPr/>
          </p:nvCxnSpPr>
          <p:spPr>
            <a:xfrm>
              <a:off x="1928110" y="2487438"/>
              <a:ext cx="9453423" cy="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C278C68-E265-BEF0-2444-813C295766AE}"/>
                </a:ext>
              </a:extLst>
            </p:cNvPr>
            <p:cNvCxnSpPr>
              <a:cxnSpLocks/>
            </p:cNvCxnSpPr>
            <p:nvPr/>
          </p:nvCxnSpPr>
          <p:spPr>
            <a:xfrm>
              <a:off x="1990198" y="3795996"/>
              <a:ext cx="9453423" cy="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55C34D2-F696-D26C-67E1-76C4CA81F6E6}"/>
                </a:ext>
              </a:extLst>
            </p:cNvPr>
            <p:cNvCxnSpPr>
              <a:cxnSpLocks/>
            </p:cNvCxnSpPr>
            <p:nvPr/>
          </p:nvCxnSpPr>
          <p:spPr>
            <a:xfrm>
              <a:off x="1961976" y="5098270"/>
              <a:ext cx="9453423" cy="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321C2D68-A5C0-494B-48EB-AE85DAA0AA61}"/>
              </a:ext>
            </a:extLst>
          </p:cNvPr>
          <p:cNvSpPr txBox="1"/>
          <p:nvPr/>
        </p:nvSpPr>
        <p:spPr>
          <a:xfrm>
            <a:off x="3324247" y="1319689"/>
            <a:ext cx="1949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>
                <a:latin typeface="+mj-lt"/>
              </a:rPr>
              <a:t>RANDOM FORES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4F77563-D45F-2340-7DA1-78BD2C0FBBA8}"/>
              </a:ext>
            </a:extLst>
          </p:cNvPr>
          <p:cNvSpPr txBox="1"/>
          <p:nvPr/>
        </p:nvSpPr>
        <p:spPr>
          <a:xfrm>
            <a:off x="3313642" y="1844992"/>
            <a:ext cx="19496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>
                <a:latin typeface="+mj-lt"/>
              </a:rPr>
              <a:t>RECURENT NEURAL NETWORK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1A673B9-125D-9514-19C6-5EFFDC660473}"/>
              </a:ext>
            </a:extLst>
          </p:cNvPr>
          <p:cNvSpPr txBox="1"/>
          <p:nvPr/>
        </p:nvSpPr>
        <p:spPr>
          <a:xfrm>
            <a:off x="3330576" y="2623991"/>
            <a:ext cx="1949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>
                <a:latin typeface="+mj-lt"/>
              </a:rPr>
              <a:t>SARIMAX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F3D51F5-FD70-0036-64ED-B84C679F7CF7}"/>
              </a:ext>
            </a:extLst>
          </p:cNvPr>
          <p:cNvSpPr txBox="1"/>
          <p:nvPr/>
        </p:nvSpPr>
        <p:spPr>
          <a:xfrm>
            <a:off x="3324247" y="3260711"/>
            <a:ext cx="1949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>
                <a:latin typeface="+mj-lt"/>
              </a:rPr>
              <a:t>ARIMA/HOLT WINTE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EB87542-2454-3181-A510-563A047A6D10}"/>
              </a:ext>
            </a:extLst>
          </p:cNvPr>
          <p:cNvSpPr txBox="1"/>
          <p:nvPr/>
        </p:nvSpPr>
        <p:spPr>
          <a:xfrm>
            <a:off x="3324247" y="3931130"/>
            <a:ext cx="1949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>
                <a:latin typeface="+mj-lt"/>
              </a:rPr>
              <a:t>REGRESSION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73B5736-F8A3-2BD6-FFFE-B78A1BCD8885}"/>
              </a:ext>
            </a:extLst>
          </p:cNvPr>
          <p:cNvSpPr txBox="1"/>
          <p:nvPr/>
        </p:nvSpPr>
        <p:spPr>
          <a:xfrm>
            <a:off x="3313642" y="4545885"/>
            <a:ext cx="1949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>
                <a:latin typeface="+mj-lt"/>
              </a:rPr>
              <a:t>SCENARIO ANALYSI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7D3F982-A336-BF79-9230-32427A1442BF}"/>
              </a:ext>
            </a:extLst>
          </p:cNvPr>
          <p:cNvSpPr txBox="1"/>
          <p:nvPr/>
        </p:nvSpPr>
        <p:spPr>
          <a:xfrm>
            <a:off x="3313642" y="5228538"/>
            <a:ext cx="1949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>
                <a:latin typeface="+mj-lt"/>
              </a:rPr>
              <a:t>DELPHI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3304DCF-F650-A9E5-224C-280D734CD979}"/>
              </a:ext>
            </a:extLst>
          </p:cNvPr>
          <p:cNvSpPr txBox="1"/>
          <p:nvPr/>
        </p:nvSpPr>
        <p:spPr>
          <a:xfrm>
            <a:off x="3324247" y="5846020"/>
            <a:ext cx="1949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>
                <a:latin typeface="+mj-lt"/>
              </a:rPr>
              <a:t>MARKET RESEARCH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E5BA093-76EC-F7AC-C2C5-9E595CCF5DBE}"/>
              </a:ext>
            </a:extLst>
          </p:cNvPr>
          <p:cNvSpPr/>
          <p:nvPr/>
        </p:nvSpPr>
        <p:spPr>
          <a:xfrm>
            <a:off x="5618866" y="2523351"/>
            <a:ext cx="3330223" cy="5007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0D0D0D"/>
                </a:solidFill>
                <a:latin typeface="+mj-lt"/>
              </a:rPr>
              <a:t>A</a:t>
            </a:r>
            <a:r>
              <a:rPr lang="en-GB" sz="1200" b="0" i="0">
                <a:solidFill>
                  <a:srgbClr val="0D0D0D"/>
                </a:solidFill>
                <a:effectLst/>
                <a:latin typeface="+mj-lt"/>
              </a:rPr>
              <a:t>ssumes data is station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0D0D0D"/>
                </a:solidFill>
                <a:latin typeface="+mj-lt"/>
              </a:rPr>
              <a:t>Assumes linear relationship b/w variables</a:t>
            </a:r>
            <a:endParaRPr lang="en-GB" sz="1200" b="0" i="0">
              <a:solidFill>
                <a:srgbClr val="0D0D0D"/>
              </a:solidFill>
              <a:effectLst/>
              <a:latin typeface="+mj-lt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F77D600F-0CF8-9849-CE08-5306D63C579A}"/>
              </a:ext>
            </a:extLst>
          </p:cNvPr>
          <p:cNvSpPr/>
          <p:nvPr/>
        </p:nvSpPr>
        <p:spPr>
          <a:xfrm>
            <a:off x="5618866" y="3149097"/>
            <a:ext cx="3330223" cy="5007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0" i="0">
                <a:solidFill>
                  <a:srgbClr val="0D0D0D"/>
                </a:solidFill>
                <a:effectLst/>
                <a:latin typeface="+mj-lt"/>
              </a:rPr>
              <a:t>Doesn’t account for external variabl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C00AD75-14F8-B347-B32C-A0477D34DDA7}"/>
              </a:ext>
            </a:extLst>
          </p:cNvPr>
          <p:cNvSpPr/>
          <p:nvPr/>
        </p:nvSpPr>
        <p:spPr>
          <a:xfrm>
            <a:off x="5618866" y="3820664"/>
            <a:ext cx="3330223" cy="5007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0" i="0">
                <a:solidFill>
                  <a:srgbClr val="0D0D0D"/>
                </a:solidFill>
                <a:effectLst/>
                <a:latin typeface="+mj-lt"/>
              </a:rPr>
              <a:t>Only considers external variable and not trend and seasonality of data itself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3083797-D4DD-0939-49D2-13EB8D8D85BC}"/>
              </a:ext>
            </a:extLst>
          </p:cNvPr>
          <p:cNvSpPr/>
          <p:nvPr/>
        </p:nvSpPr>
        <p:spPr>
          <a:xfrm>
            <a:off x="5613221" y="4433999"/>
            <a:ext cx="3330223" cy="5007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0" i="0">
                <a:solidFill>
                  <a:srgbClr val="0D0D0D"/>
                </a:solidFill>
                <a:effectLst/>
                <a:latin typeface="+mj-lt"/>
              </a:rPr>
              <a:t>Only considers strategic scenarios and not trend and seasonality of data itself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0D4D4B6-D751-6C64-0F9A-EC007D824FE8}"/>
              </a:ext>
            </a:extLst>
          </p:cNvPr>
          <p:cNvSpPr/>
          <p:nvPr/>
        </p:nvSpPr>
        <p:spPr>
          <a:xfrm>
            <a:off x="5613220" y="1140453"/>
            <a:ext cx="3330223" cy="1246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0D0D0D"/>
                </a:solidFill>
                <a:latin typeface="+mj-lt"/>
              </a:rPr>
              <a:t>Can handle non-linear and complex relationships and non-stationarity of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0" i="0">
                <a:solidFill>
                  <a:srgbClr val="0D0D0D"/>
                </a:solidFill>
                <a:effectLst/>
                <a:latin typeface="+mj-lt"/>
              </a:rPr>
              <a:t>Can handle trend and seasonalit</a:t>
            </a:r>
            <a:r>
              <a:rPr lang="en-GB" sz="1200">
                <a:solidFill>
                  <a:srgbClr val="0D0D0D"/>
                </a:solidFill>
                <a:latin typeface="+mj-lt"/>
              </a:rPr>
              <a:t>y with feature engine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0D0D0D"/>
                </a:solidFill>
                <a:latin typeface="+mj-lt"/>
              </a:rPr>
              <a:t>Handles both sequential and features</a:t>
            </a:r>
            <a:endParaRPr lang="en-GB" sz="1200" b="0" i="0">
              <a:solidFill>
                <a:srgbClr val="0D0D0D"/>
              </a:solidFill>
              <a:effectLst/>
              <a:latin typeface="+mj-lt"/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C0974990-E327-15BE-4634-0022F7B21754}"/>
              </a:ext>
            </a:extLst>
          </p:cNvPr>
          <p:cNvGrpSpPr/>
          <p:nvPr/>
        </p:nvGrpSpPr>
        <p:grpSpPr>
          <a:xfrm>
            <a:off x="5613220" y="3113853"/>
            <a:ext cx="3903837" cy="1298025"/>
            <a:chOff x="4363154" y="3183301"/>
            <a:chExt cx="6359016" cy="1298025"/>
          </a:xfrm>
        </p:grpSpPr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CE665325-63FD-81E5-98F8-F0C143F8EE21}"/>
                </a:ext>
              </a:extLst>
            </p:cNvPr>
            <p:cNvCxnSpPr>
              <a:cxnSpLocks/>
            </p:cNvCxnSpPr>
            <p:nvPr/>
          </p:nvCxnSpPr>
          <p:spPr>
            <a:xfrm>
              <a:off x="4363154" y="3183301"/>
              <a:ext cx="633888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3920942A-38B2-28DB-8655-1E30ED388348}"/>
                </a:ext>
              </a:extLst>
            </p:cNvPr>
            <p:cNvCxnSpPr>
              <a:cxnSpLocks/>
            </p:cNvCxnSpPr>
            <p:nvPr/>
          </p:nvCxnSpPr>
          <p:spPr>
            <a:xfrm>
              <a:off x="4383290" y="4481326"/>
              <a:ext cx="633888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1AA0FDCE-DB75-C2D1-5C7B-5BF8553645DD}"/>
              </a:ext>
            </a:extLst>
          </p:cNvPr>
          <p:cNvSpPr/>
          <p:nvPr/>
        </p:nvSpPr>
        <p:spPr>
          <a:xfrm>
            <a:off x="8308623" y="1521183"/>
            <a:ext cx="3330223" cy="5007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1200" b="0" i="0">
              <a:solidFill>
                <a:srgbClr val="0D0D0D"/>
              </a:solidFill>
              <a:effectLst/>
              <a:latin typeface="+mj-lt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255D794E-15CF-8604-1447-E1D831613630}"/>
              </a:ext>
            </a:extLst>
          </p:cNvPr>
          <p:cNvSpPr/>
          <p:nvPr/>
        </p:nvSpPr>
        <p:spPr>
          <a:xfrm>
            <a:off x="5625582" y="5391772"/>
            <a:ext cx="3330223" cy="5007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0" i="0">
                <a:solidFill>
                  <a:srgbClr val="0D0D0D"/>
                </a:solidFill>
                <a:effectLst/>
                <a:latin typeface="+mj-lt"/>
              </a:rPr>
              <a:t>Done when data is not available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527E551-54DC-4228-BD00-2842603357FC}"/>
              </a:ext>
            </a:extLst>
          </p:cNvPr>
          <p:cNvSpPr/>
          <p:nvPr/>
        </p:nvSpPr>
        <p:spPr>
          <a:xfrm>
            <a:off x="9504695" y="1467030"/>
            <a:ext cx="1350778" cy="5007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i="0">
                <a:solidFill>
                  <a:schemeClr val="accent1">
                    <a:lumMod val="75000"/>
                  </a:schemeClr>
                </a:solidFill>
                <a:effectLst/>
                <a:latin typeface="+mj-lt"/>
              </a:rPr>
              <a:t>SELECTED</a:t>
            </a:r>
          </a:p>
        </p:txBody>
      </p:sp>
      <p:sp>
        <p:nvSpPr>
          <p:cNvPr id="5" name="Arrow: Chevron 4">
            <a:extLst>
              <a:ext uri="{FF2B5EF4-FFF2-40B4-BE49-F238E27FC236}">
                <a16:creationId xmlns:a16="http://schemas.microsoft.com/office/drawing/2014/main" id="{DCE8AA98-099A-6B8D-E8F2-0C99D9E5C602}"/>
              </a:ext>
            </a:extLst>
          </p:cNvPr>
          <p:cNvSpPr/>
          <p:nvPr/>
        </p:nvSpPr>
        <p:spPr>
          <a:xfrm>
            <a:off x="4251682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PREPARTION</a:t>
            </a: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A11A2CBA-8A79-2F4C-5E0D-D7C77824713B}"/>
              </a:ext>
            </a:extLst>
          </p:cNvPr>
          <p:cNvSpPr/>
          <p:nvPr/>
        </p:nvSpPr>
        <p:spPr>
          <a:xfrm>
            <a:off x="6215940" y="6561469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ODEL EVALUATION &amp; PREDICTION</a:t>
            </a: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42FD3360-71A0-4D3B-3BA0-34E2690F13C1}"/>
              </a:ext>
            </a:extLst>
          </p:cNvPr>
          <p:cNvSpPr/>
          <p:nvPr/>
        </p:nvSpPr>
        <p:spPr>
          <a:xfrm>
            <a:off x="8180198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INVENTORY REPLENISHMENT</a:t>
            </a: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DB8D0BC2-5618-55B9-3235-A9812BE84536}"/>
              </a:ext>
            </a:extLst>
          </p:cNvPr>
          <p:cNvSpPr/>
          <p:nvPr/>
        </p:nvSpPr>
        <p:spPr>
          <a:xfrm>
            <a:off x="10144455" y="6561104"/>
            <a:ext cx="2047545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BENEFITS TO EBs and TBH</a:t>
            </a: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53504D29-0AA9-6FBC-E16E-AFBDFB74CBDE}"/>
              </a:ext>
            </a:extLst>
          </p:cNvPr>
          <p:cNvSpPr/>
          <p:nvPr/>
        </p:nvSpPr>
        <p:spPr>
          <a:xfrm>
            <a:off x="2287424" y="6561104"/>
            <a:ext cx="2077134" cy="296896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ETHOD COMPARISON &amp; DATA</a:t>
            </a: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943B10B0-298A-3CB6-4331-CC6CF2F29476}"/>
              </a:ext>
            </a:extLst>
          </p:cNvPr>
          <p:cNvSpPr/>
          <p:nvPr/>
        </p:nvSpPr>
        <p:spPr>
          <a:xfrm>
            <a:off x="0" y="6565900"/>
            <a:ext cx="2400300" cy="2921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PAIN POINTS/GAPS</a:t>
            </a:r>
          </a:p>
        </p:txBody>
      </p:sp>
    </p:spTree>
    <p:extLst>
      <p:ext uri="{BB962C8B-B14F-4D97-AF65-F5344CB8AC3E}">
        <p14:creationId xmlns:p14="http://schemas.microsoft.com/office/powerpoint/2010/main" val="867037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F1FB6B2-BC49-1275-57BE-230B8E433B6E}"/>
              </a:ext>
            </a:extLst>
          </p:cNvPr>
          <p:cNvSpPr txBox="1">
            <a:spLocks/>
          </p:cNvSpPr>
          <p:nvPr/>
        </p:nvSpPr>
        <p:spPr>
          <a:xfrm>
            <a:off x="510271" y="459609"/>
            <a:ext cx="10933350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>
                <a:solidFill>
                  <a:schemeClr val="accent1">
                    <a:lumMod val="75000"/>
                  </a:schemeClr>
                </a:solidFill>
              </a:rPr>
              <a:t>DATASET </a:t>
            </a: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STRUCTURE</a:t>
            </a:r>
            <a:endParaRPr lang="en-IN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2" name="Picture 1" descr="A table with numbers and text&#10;&#10;Description automatically generated">
            <a:extLst>
              <a:ext uri="{FF2B5EF4-FFF2-40B4-BE49-F238E27FC236}">
                <a16:creationId xmlns:a16="http://schemas.microsoft.com/office/drawing/2014/main" id="{E626C4AD-912E-A29B-0A22-8F1EBE782D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800" y="1251220"/>
            <a:ext cx="7772400" cy="177588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B177C00-1DDB-49CE-EF3D-2C44AE54A1E1}"/>
              </a:ext>
            </a:extLst>
          </p:cNvPr>
          <p:cNvSpPr/>
          <p:nvPr/>
        </p:nvSpPr>
        <p:spPr>
          <a:xfrm>
            <a:off x="844830" y="3429001"/>
            <a:ext cx="3352800" cy="1625600"/>
          </a:xfrm>
          <a:prstGeom prst="rect">
            <a:avLst/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047C0E-05AA-A3D6-1D76-49E82E42B14E}"/>
              </a:ext>
            </a:extLst>
          </p:cNvPr>
          <p:cNvSpPr/>
          <p:nvPr/>
        </p:nvSpPr>
        <p:spPr>
          <a:xfrm>
            <a:off x="4419600" y="3429001"/>
            <a:ext cx="3352800" cy="1625600"/>
          </a:xfrm>
          <a:prstGeom prst="rect">
            <a:avLst/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C5D9EF5-B6D6-9F2E-5445-410609D8634A}"/>
              </a:ext>
            </a:extLst>
          </p:cNvPr>
          <p:cNvSpPr/>
          <p:nvPr/>
        </p:nvSpPr>
        <p:spPr>
          <a:xfrm>
            <a:off x="7994370" y="3429001"/>
            <a:ext cx="3352800" cy="1625600"/>
          </a:xfrm>
          <a:prstGeom prst="rect">
            <a:avLst/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639B43F-DC06-1ACF-A019-0741412539E8}"/>
              </a:ext>
            </a:extLst>
          </p:cNvPr>
          <p:cNvSpPr txBox="1"/>
          <p:nvPr/>
        </p:nvSpPr>
        <p:spPr>
          <a:xfrm>
            <a:off x="8451570" y="3463129"/>
            <a:ext cx="2438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u="sng">
                <a:latin typeface="+mj-lt"/>
              </a:rPr>
              <a:t>Target Variab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27EF37-52E2-B770-DD7B-B700DC7181DF}"/>
              </a:ext>
            </a:extLst>
          </p:cNvPr>
          <p:cNvSpPr txBox="1"/>
          <p:nvPr/>
        </p:nvSpPr>
        <p:spPr>
          <a:xfrm>
            <a:off x="4757746" y="3458621"/>
            <a:ext cx="2438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u="sng">
                <a:latin typeface="+mj-lt"/>
              </a:rPr>
              <a:t>External/Exogenous  Variab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F62C66D-4079-FF6F-7AF7-55A4E76112FB}"/>
              </a:ext>
            </a:extLst>
          </p:cNvPr>
          <p:cNvSpPr txBox="1"/>
          <p:nvPr/>
        </p:nvSpPr>
        <p:spPr>
          <a:xfrm>
            <a:off x="1265246" y="3458621"/>
            <a:ext cx="2438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u="sng">
                <a:latin typeface="+mj-lt"/>
              </a:rPr>
              <a:t>Input Variab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A27F8F9-AA8D-453F-52DC-B97008AE825C}"/>
              </a:ext>
            </a:extLst>
          </p:cNvPr>
          <p:cNvSpPr txBox="1"/>
          <p:nvPr/>
        </p:nvSpPr>
        <p:spPr>
          <a:xfrm>
            <a:off x="4552950" y="4024293"/>
            <a:ext cx="30861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Total Pr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Base Pr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Is featured SK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Is display SKU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9A8ABF-D5E5-A105-1C52-BDC5BBC20701}"/>
              </a:ext>
            </a:extLst>
          </p:cNvPr>
          <p:cNvSpPr txBox="1"/>
          <p:nvPr/>
        </p:nvSpPr>
        <p:spPr>
          <a:xfrm>
            <a:off x="941396" y="4017996"/>
            <a:ext cx="30861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Wee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SKU 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Store I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9B6D36A-17C6-888A-77C6-44645C3949D3}"/>
              </a:ext>
            </a:extLst>
          </p:cNvPr>
          <p:cNvSpPr txBox="1"/>
          <p:nvPr/>
        </p:nvSpPr>
        <p:spPr>
          <a:xfrm>
            <a:off x="8127720" y="4068514"/>
            <a:ext cx="3086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Units Sol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630C8FD-1132-D5BE-3C7F-637E7A0C51CD}"/>
              </a:ext>
            </a:extLst>
          </p:cNvPr>
          <p:cNvSpPr txBox="1"/>
          <p:nvPr/>
        </p:nvSpPr>
        <p:spPr>
          <a:xfrm>
            <a:off x="4419600" y="5133327"/>
            <a:ext cx="33528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b="1" i="1">
                <a:latin typeface="+mj-lt"/>
              </a:rPr>
              <a:t>*Any external variable GDP, population can be added like mentioned in the use-case and the model will still work*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4BF1384-2BAC-A859-EFBE-DCCBA0415F35}"/>
              </a:ext>
            </a:extLst>
          </p:cNvPr>
          <p:cNvSpPr txBox="1"/>
          <p:nvPr/>
        </p:nvSpPr>
        <p:spPr>
          <a:xfrm>
            <a:off x="8180197" y="6169917"/>
            <a:ext cx="3879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i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Data Source: Kaggle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1A252EF8-7F2F-E2A7-FC1C-830284996FFD}"/>
              </a:ext>
            </a:extLst>
          </p:cNvPr>
          <p:cNvSpPr/>
          <p:nvPr/>
        </p:nvSpPr>
        <p:spPr>
          <a:xfrm>
            <a:off x="4251682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PREPARTION</a:t>
            </a:r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483013FD-509B-8134-9E2D-8E3038CD6DBC}"/>
              </a:ext>
            </a:extLst>
          </p:cNvPr>
          <p:cNvSpPr/>
          <p:nvPr/>
        </p:nvSpPr>
        <p:spPr>
          <a:xfrm>
            <a:off x="6215940" y="6561469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ODEL EVALUATION &amp; PREDICTION</a:t>
            </a:r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CA07DBE8-6C01-A560-6A68-3FEB3CAD39D9}"/>
              </a:ext>
            </a:extLst>
          </p:cNvPr>
          <p:cNvSpPr/>
          <p:nvPr/>
        </p:nvSpPr>
        <p:spPr>
          <a:xfrm>
            <a:off x="8180198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INVENTORY REPLENISHMENT</a:t>
            </a:r>
          </a:p>
        </p:txBody>
      </p:sp>
      <p:sp>
        <p:nvSpPr>
          <p:cNvPr id="32" name="Arrow: Chevron 31">
            <a:extLst>
              <a:ext uri="{FF2B5EF4-FFF2-40B4-BE49-F238E27FC236}">
                <a16:creationId xmlns:a16="http://schemas.microsoft.com/office/drawing/2014/main" id="{A6AB73F1-81FF-09F0-13C2-8857F492AD61}"/>
              </a:ext>
            </a:extLst>
          </p:cNvPr>
          <p:cNvSpPr/>
          <p:nvPr/>
        </p:nvSpPr>
        <p:spPr>
          <a:xfrm>
            <a:off x="10144455" y="6561104"/>
            <a:ext cx="2047545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BENEFITS TO EBs and TBH</a:t>
            </a:r>
          </a:p>
        </p:txBody>
      </p:sp>
      <p:sp>
        <p:nvSpPr>
          <p:cNvPr id="33" name="Arrow: Chevron 32">
            <a:extLst>
              <a:ext uri="{FF2B5EF4-FFF2-40B4-BE49-F238E27FC236}">
                <a16:creationId xmlns:a16="http://schemas.microsoft.com/office/drawing/2014/main" id="{05A97BC2-F9A7-0795-B81B-6A54F6F7DC09}"/>
              </a:ext>
            </a:extLst>
          </p:cNvPr>
          <p:cNvSpPr/>
          <p:nvPr/>
        </p:nvSpPr>
        <p:spPr>
          <a:xfrm>
            <a:off x="2287424" y="6561104"/>
            <a:ext cx="2077134" cy="296896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ETHOD COMPARISON &amp; DATA</a:t>
            </a:r>
          </a:p>
        </p:txBody>
      </p:sp>
      <p:sp>
        <p:nvSpPr>
          <p:cNvPr id="34" name="Arrow: Pentagon 33">
            <a:extLst>
              <a:ext uri="{FF2B5EF4-FFF2-40B4-BE49-F238E27FC236}">
                <a16:creationId xmlns:a16="http://schemas.microsoft.com/office/drawing/2014/main" id="{880B1122-42B2-15B8-3C4D-03E5BCAF040C}"/>
              </a:ext>
            </a:extLst>
          </p:cNvPr>
          <p:cNvSpPr/>
          <p:nvPr/>
        </p:nvSpPr>
        <p:spPr>
          <a:xfrm>
            <a:off x="0" y="6565900"/>
            <a:ext cx="2400300" cy="2921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PAIN POINTS/GAPS</a:t>
            </a:r>
          </a:p>
        </p:txBody>
      </p:sp>
    </p:spTree>
    <p:extLst>
      <p:ext uri="{BB962C8B-B14F-4D97-AF65-F5344CB8AC3E}">
        <p14:creationId xmlns:p14="http://schemas.microsoft.com/office/powerpoint/2010/main" val="2903802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8D0DE0-522F-29B0-8202-964439F707B1}"/>
              </a:ext>
            </a:extLst>
          </p:cNvPr>
          <p:cNvSpPr txBox="1">
            <a:spLocks/>
          </p:cNvSpPr>
          <p:nvPr/>
        </p:nvSpPr>
        <p:spPr>
          <a:xfrm>
            <a:off x="510271" y="459609"/>
            <a:ext cx="10933350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DATA </a:t>
            </a: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PREPARATION</a:t>
            </a:r>
            <a:endParaRPr lang="en-IN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28218CA9-D0A9-82A5-1AC7-D32A782DCC18}"/>
              </a:ext>
            </a:extLst>
          </p:cNvPr>
          <p:cNvSpPr/>
          <p:nvPr/>
        </p:nvSpPr>
        <p:spPr>
          <a:xfrm>
            <a:off x="1365812" y="1238489"/>
            <a:ext cx="3240912" cy="590309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DATA CLEANING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9AEC876F-59F2-BB5F-FD8E-ADE5BC3A814D}"/>
              </a:ext>
            </a:extLst>
          </p:cNvPr>
          <p:cNvSpPr/>
          <p:nvPr/>
        </p:nvSpPr>
        <p:spPr>
          <a:xfrm>
            <a:off x="4354009" y="1238488"/>
            <a:ext cx="3240912" cy="590309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DATA UNDERSTANDING</a:t>
            </a: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51373F44-CDF5-FD5F-B761-53DB1E320FF4}"/>
              </a:ext>
            </a:extLst>
          </p:cNvPr>
          <p:cNvSpPr/>
          <p:nvPr/>
        </p:nvSpPr>
        <p:spPr>
          <a:xfrm>
            <a:off x="7342206" y="1238487"/>
            <a:ext cx="3240912" cy="590309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DATA PROCESSING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FF439935-82D7-E5FB-264E-D143327B1E6D}"/>
              </a:ext>
            </a:extLst>
          </p:cNvPr>
          <p:cNvSpPr/>
          <p:nvPr/>
        </p:nvSpPr>
        <p:spPr>
          <a:xfrm>
            <a:off x="492105" y="3080127"/>
            <a:ext cx="2885249" cy="540188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>
                <a:solidFill>
                  <a:schemeClr val="tx1"/>
                </a:solidFill>
              </a:rPr>
              <a:t>TRANSFORMED DATA TYPE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980A467-A2CE-AC35-F011-858D8CBCE24B}"/>
              </a:ext>
            </a:extLst>
          </p:cNvPr>
          <p:cNvSpPr/>
          <p:nvPr/>
        </p:nvSpPr>
        <p:spPr>
          <a:xfrm>
            <a:off x="3747046" y="3080127"/>
            <a:ext cx="2885249" cy="540188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>
                <a:solidFill>
                  <a:schemeClr val="tx1"/>
                </a:solidFill>
              </a:rPr>
              <a:t>TREATED MISSING VALUES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5A439572-A960-881A-E89A-8B9E38269A00}"/>
              </a:ext>
            </a:extLst>
          </p:cNvPr>
          <p:cNvSpPr/>
          <p:nvPr/>
        </p:nvSpPr>
        <p:spPr>
          <a:xfrm>
            <a:off x="492105" y="3985514"/>
            <a:ext cx="2885249" cy="540188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>
                <a:solidFill>
                  <a:schemeClr val="tx1"/>
                </a:solidFill>
              </a:rPr>
              <a:t>REMOVED DUPLICATE ENTRIE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B5A30CB6-9080-07E7-DD1D-A9632BCF5C24}"/>
              </a:ext>
            </a:extLst>
          </p:cNvPr>
          <p:cNvSpPr/>
          <p:nvPr/>
        </p:nvSpPr>
        <p:spPr>
          <a:xfrm>
            <a:off x="3747046" y="3985514"/>
            <a:ext cx="2885249" cy="540188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>
                <a:solidFill>
                  <a:schemeClr val="tx1"/>
                </a:solidFill>
              </a:rPr>
              <a:t>TREATED INCONSISTENT VALU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0B5A8F9-4224-3630-FF59-A5E81E356275}"/>
              </a:ext>
            </a:extLst>
          </p:cNvPr>
          <p:cNvSpPr txBox="1"/>
          <p:nvPr/>
        </p:nvSpPr>
        <p:spPr>
          <a:xfrm>
            <a:off x="265361" y="2791478"/>
            <a:ext cx="463348" cy="620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1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4F457F9-41DE-848A-E613-E10F88702579}"/>
              </a:ext>
            </a:extLst>
          </p:cNvPr>
          <p:cNvSpPr txBox="1"/>
          <p:nvPr/>
        </p:nvSpPr>
        <p:spPr>
          <a:xfrm>
            <a:off x="3503869" y="2791478"/>
            <a:ext cx="463348" cy="620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C0C54A6-29CB-8A11-DD71-FE39CAF89253}"/>
              </a:ext>
            </a:extLst>
          </p:cNvPr>
          <p:cNvSpPr txBox="1"/>
          <p:nvPr/>
        </p:nvSpPr>
        <p:spPr>
          <a:xfrm>
            <a:off x="260431" y="3700538"/>
            <a:ext cx="463348" cy="620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3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2271C42-9329-1AA9-BB42-9E63D8FD0C9D}"/>
              </a:ext>
            </a:extLst>
          </p:cNvPr>
          <p:cNvSpPr txBox="1"/>
          <p:nvPr/>
        </p:nvSpPr>
        <p:spPr>
          <a:xfrm>
            <a:off x="3503869" y="3777088"/>
            <a:ext cx="463348" cy="620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4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7DAB7270-F685-3866-00C7-12B062399E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9170" y="3325085"/>
            <a:ext cx="5067600" cy="1371315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6DED6704-85EE-7AE2-2448-C0E6B038E614}"/>
              </a:ext>
            </a:extLst>
          </p:cNvPr>
          <p:cNvSpPr txBox="1"/>
          <p:nvPr/>
        </p:nvSpPr>
        <p:spPr>
          <a:xfrm>
            <a:off x="6829170" y="2630155"/>
            <a:ext cx="488251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500" i="1">
                <a:latin typeface="+mj-lt"/>
              </a:rPr>
              <a:t>If missing values &gt; 1% then removed the rows else replaced with mean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C6049667-DDB9-FD45-A945-FC7AA1EF5872}"/>
              </a:ext>
            </a:extLst>
          </p:cNvPr>
          <p:cNvSpPr/>
          <p:nvPr/>
        </p:nvSpPr>
        <p:spPr>
          <a:xfrm>
            <a:off x="2124082" y="4871644"/>
            <a:ext cx="2885249" cy="540188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>
                <a:solidFill>
                  <a:schemeClr val="tx1"/>
                </a:solidFill>
              </a:rPr>
              <a:t>SORTED DATA BASED ON DAT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B4DE4EF-C4B8-6338-C82C-CF654B8BC6A4}"/>
              </a:ext>
            </a:extLst>
          </p:cNvPr>
          <p:cNvSpPr txBox="1"/>
          <p:nvPr/>
        </p:nvSpPr>
        <p:spPr>
          <a:xfrm>
            <a:off x="1880905" y="4663218"/>
            <a:ext cx="4633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5</a:t>
            </a: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37C1EC87-5EB7-E8F0-57EA-DFB0E0B4D347}"/>
              </a:ext>
            </a:extLst>
          </p:cNvPr>
          <p:cNvSpPr/>
          <p:nvPr/>
        </p:nvSpPr>
        <p:spPr>
          <a:xfrm>
            <a:off x="4251682" y="6561104"/>
            <a:ext cx="2077134" cy="296896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PREPARTION</a:t>
            </a: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AF998E1E-DD0D-7A9D-A9F0-0EC9C15D3467}"/>
              </a:ext>
            </a:extLst>
          </p:cNvPr>
          <p:cNvSpPr/>
          <p:nvPr/>
        </p:nvSpPr>
        <p:spPr>
          <a:xfrm>
            <a:off x="6215940" y="6561469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ODEL EVALUATION &amp; PREDICTION</a:t>
            </a: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2DC5383A-F78A-9621-495C-04CEDE636428}"/>
              </a:ext>
            </a:extLst>
          </p:cNvPr>
          <p:cNvSpPr/>
          <p:nvPr/>
        </p:nvSpPr>
        <p:spPr>
          <a:xfrm>
            <a:off x="8180198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INVENTORY REPLENISHMENT</a:t>
            </a: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CF365CCB-52FD-0E40-8084-C8F0A2CE869E}"/>
              </a:ext>
            </a:extLst>
          </p:cNvPr>
          <p:cNvSpPr/>
          <p:nvPr/>
        </p:nvSpPr>
        <p:spPr>
          <a:xfrm>
            <a:off x="10144455" y="6561104"/>
            <a:ext cx="2047545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BENEFITS TO EBs and TBH</a:t>
            </a: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4D9A0141-AACB-9882-1145-C6C00AA1A03D}"/>
              </a:ext>
            </a:extLst>
          </p:cNvPr>
          <p:cNvSpPr/>
          <p:nvPr/>
        </p:nvSpPr>
        <p:spPr>
          <a:xfrm>
            <a:off x="2287424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ETHOD COMPARISON &amp; DATA</a:t>
            </a: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D3DD27DD-9855-7FA1-57DB-E11C7216E4DD}"/>
              </a:ext>
            </a:extLst>
          </p:cNvPr>
          <p:cNvSpPr/>
          <p:nvPr/>
        </p:nvSpPr>
        <p:spPr>
          <a:xfrm>
            <a:off x="0" y="6565900"/>
            <a:ext cx="2400300" cy="2921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PAIN POINTS/GAPS</a:t>
            </a:r>
          </a:p>
        </p:txBody>
      </p:sp>
    </p:spTree>
    <p:extLst>
      <p:ext uri="{BB962C8B-B14F-4D97-AF65-F5344CB8AC3E}">
        <p14:creationId xmlns:p14="http://schemas.microsoft.com/office/powerpoint/2010/main" val="23023519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8D0DE0-522F-29B0-8202-964439F707B1}"/>
              </a:ext>
            </a:extLst>
          </p:cNvPr>
          <p:cNvSpPr txBox="1">
            <a:spLocks/>
          </p:cNvSpPr>
          <p:nvPr/>
        </p:nvSpPr>
        <p:spPr>
          <a:xfrm>
            <a:off x="510271" y="459609"/>
            <a:ext cx="10933350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DATA </a:t>
            </a: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PREPARATION</a:t>
            </a:r>
            <a:endParaRPr lang="en-IN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28218CA9-D0A9-82A5-1AC7-D32A782DCC18}"/>
              </a:ext>
            </a:extLst>
          </p:cNvPr>
          <p:cNvSpPr/>
          <p:nvPr/>
        </p:nvSpPr>
        <p:spPr>
          <a:xfrm>
            <a:off x="1365812" y="1238489"/>
            <a:ext cx="3240912" cy="590309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DATA CLEANING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9AEC876F-59F2-BB5F-FD8E-ADE5BC3A814D}"/>
              </a:ext>
            </a:extLst>
          </p:cNvPr>
          <p:cNvSpPr/>
          <p:nvPr/>
        </p:nvSpPr>
        <p:spPr>
          <a:xfrm>
            <a:off x="4354009" y="1238488"/>
            <a:ext cx="3240912" cy="590309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DATA UNDERSTANDING</a:t>
            </a: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51373F44-CDF5-FD5F-B761-53DB1E320FF4}"/>
              </a:ext>
            </a:extLst>
          </p:cNvPr>
          <p:cNvSpPr/>
          <p:nvPr/>
        </p:nvSpPr>
        <p:spPr>
          <a:xfrm>
            <a:off x="7342206" y="1238487"/>
            <a:ext cx="3240912" cy="590309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DATA PROCESSING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A6CA466-1B32-86D5-7B49-A592468FEFE6}"/>
              </a:ext>
            </a:extLst>
          </p:cNvPr>
          <p:cNvSpPr/>
          <p:nvPr/>
        </p:nvSpPr>
        <p:spPr>
          <a:xfrm>
            <a:off x="492105" y="2408796"/>
            <a:ext cx="2885249" cy="540188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>
                <a:solidFill>
                  <a:schemeClr val="tx1"/>
                </a:solidFill>
              </a:rPr>
              <a:t>DATA SELECTION</a:t>
            </a:r>
          </a:p>
          <a:p>
            <a:pPr algn="ctr"/>
            <a:r>
              <a:rPr lang="en-GB" sz="1200" i="1">
                <a:solidFill>
                  <a:schemeClr val="accent1">
                    <a:lumMod val="75000"/>
                  </a:schemeClr>
                </a:solidFill>
              </a:rPr>
              <a:t>Based on </a:t>
            </a:r>
            <a:r>
              <a:rPr lang="en-GB" sz="1200" i="1" err="1">
                <a:solidFill>
                  <a:schemeClr val="accent1">
                    <a:lumMod val="75000"/>
                  </a:schemeClr>
                </a:solidFill>
              </a:rPr>
              <a:t>sku</a:t>
            </a:r>
            <a:r>
              <a:rPr lang="en-GB" sz="1200" i="1">
                <a:solidFill>
                  <a:schemeClr val="accent1">
                    <a:lumMod val="75000"/>
                  </a:schemeClr>
                </a:solidFill>
              </a:rPr>
              <a:t> and store input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AEE5593F-5A7E-6C79-EA2A-631D1DE089D4}"/>
              </a:ext>
            </a:extLst>
          </p:cNvPr>
          <p:cNvSpPr/>
          <p:nvPr/>
        </p:nvSpPr>
        <p:spPr>
          <a:xfrm>
            <a:off x="486353" y="3740913"/>
            <a:ext cx="2885249" cy="540188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>
                <a:solidFill>
                  <a:schemeClr val="tx1"/>
                </a:solidFill>
              </a:rPr>
              <a:t>UNDERSTANDING DISTRIBUTION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D60DB59-0303-E880-DC11-EFEA94027E6E}"/>
              </a:ext>
            </a:extLst>
          </p:cNvPr>
          <p:cNvSpPr/>
          <p:nvPr/>
        </p:nvSpPr>
        <p:spPr>
          <a:xfrm>
            <a:off x="492105" y="5020562"/>
            <a:ext cx="2885249" cy="749378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>
                <a:solidFill>
                  <a:schemeClr val="tx1"/>
                </a:solidFill>
              </a:rPr>
              <a:t>UNDERSTANDING COMPONENTS and DATA STATIONARITY USING DF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00EB9A-86E8-C30F-5A3B-7316B9B608C2}"/>
              </a:ext>
            </a:extLst>
          </p:cNvPr>
          <p:cNvSpPr txBox="1"/>
          <p:nvPr/>
        </p:nvSpPr>
        <p:spPr>
          <a:xfrm>
            <a:off x="265361" y="2120147"/>
            <a:ext cx="463348" cy="620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3D2B76C-FC8E-3B24-75D0-DC69526315CB}"/>
              </a:ext>
            </a:extLst>
          </p:cNvPr>
          <p:cNvSpPr txBox="1"/>
          <p:nvPr/>
        </p:nvSpPr>
        <p:spPr>
          <a:xfrm>
            <a:off x="243176" y="3452264"/>
            <a:ext cx="463348" cy="620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7FE841-40F3-16F3-3D65-62BB40E96D8B}"/>
              </a:ext>
            </a:extLst>
          </p:cNvPr>
          <p:cNvSpPr txBox="1"/>
          <p:nvPr/>
        </p:nvSpPr>
        <p:spPr>
          <a:xfrm>
            <a:off x="260431" y="4828589"/>
            <a:ext cx="463348" cy="620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3</a:t>
            </a:r>
          </a:p>
        </p:txBody>
      </p:sp>
      <p:pic>
        <p:nvPicPr>
          <p:cNvPr id="13" name="Picture 4">
            <a:extLst>
              <a:ext uri="{FF2B5EF4-FFF2-40B4-BE49-F238E27FC236}">
                <a16:creationId xmlns:a16="http://schemas.microsoft.com/office/drawing/2014/main" id="{1F6DCE42-D229-477A-ECCF-900FFAFA01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9028" y="2735935"/>
            <a:ext cx="3591246" cy="2446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0BE7BFF-A7A8-32C3-419A-D819E735F82B}"/>
              </a:ext>
            </a:extLst>
          </p:cNvPr>
          <p:cNvSpPr txBox="1"/>
          <p:nvPr/>
        </p:nvSpPr>
        <p:spPr>
          <a:xfrm>
            <a:off x="3959361" y="2117504"/>
            <a:ext cx="463348" cy="620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63A9126-8BC7-1171-AD00-9775B9C04836}"/>
              </a:ext>
            </a:extLst>
          </p:cNvPr>
          <p:cNvSpPr txBox="1"/>
          <p:nvPr/>
        </p:nvSpPr>
        <p:spPr>
          <a:xfrm>
            <a:off x="3970937" y="5934676"/>
            <a:ext cx="32293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u="sng">
                <a:latin typeface="+mj-lt"/>
              </a:rPr>
              <a:t>Observation</a:t>
            </a:r>
            <a:r>
              <a:rPr lang="en-GB" sz="1400">
                <a:latin typeface="+mj-lt"/>
              </a:rPr>
              <a:t>: Data is </a:t>
            </a:r>
            <a:r>
              <a:rPr lang="en-GB" sz="1400">
                <a:solidFill>
                  <a:schemeClr val="accent1">
                    <a:lumMod val="75000"/>
                  </a:schemeClr>
                </a:solidFill>
                <a:latin typeface="+mj-lt"/>
              </a:rPr>
              <a:t>highly skewed towards right</a:t>
            </a:r>
          </a:p>
        </p:txBody>
      </p:sp>
      <p:pic>
        <p:nvPicPr>
          <p:cNvPr id="16" name="Picture 4">
            <a:extLst>
              <a:ext uri="{FF2B5EF4-FFF2-40B4-BE49-F238E27FC236}">
                <a16:creationId xmlns:a16="http://schemas.microsoft.com/office/drawing/2014/main" id="{30FE4F2F-4879-B1BF-B770-EED4A2E91B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2206" y="2693733"/>
            <a:ext cx="4481455" cy="2925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06BDD87-AE12-EA28-8153-E5CFCD93BD69}"/>
              </a:ext>
            </a:extLst>
          </p:cNvPr>
          <p:cNvSpPr txBox="1"/>
          <p:nvPr/>
        </p:nvSpPr>
        <p:spPr>
          <a:xfrm>
            <a:off x="3959361" y="5161132"/>
            <a:ext cx="32293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u="sng">
                <a:latin typeface="+mj-lt"/>
              </a:rPr>
              <a:t>SKEWNESS</a:t>
            </a:r>
            <a:r>
              <a:rPr lang="en-GB" sz="1400">
                <a:latin typeface="+mj-lt"/>
              </a:rPr>
              <a:t>: </a:t>
            </a:r>
            <a:r>
              <a:rPr lang="en-IN" sz="1400">
                <a:latin typeface="+mj-lt"/>
              </a:rPr>
              <a:t>1.7979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3460D55-D544-E2DA-A039-6A139E1ACE4E}"/>
              </a:ext>
            </a:extLst>
          </p:cNvPr>
          <p:cNvSpPr txBox="1"/>
          <p:nvPr/>
        </p:nvSpPr>
        <p:spPr>
          <a:xfrm>
            <a:off x="7439247" y="5923101"/>
            <a:ext cx="43844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u="sng">
                <a:latin typeface="+mj-lt"/>
              </a:rPr>
              <a:t>Observation</a:t>
            </a:r>
            <a:r>
              <a:rPr lang="en-GB" sz="1400">
                <a:latin typeface="+mj-lt"/>
              </a:rPr>
              <a:t>: Data has both </a:t>
            </a:r>
            <a:r>
              <a:rPr lang="en-GB" sz="1400">
                <a:solidFill>
                  <a:schemeClr val="accent1">
                    <a:lumMod val="75000"/>
                  </a:schemeClr>
                </a:solidFill>
                <a:latin typeface="+mj-lt"/>
              </a:rPr>
              <a:t>trend and seasonalit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63AD0B1-1628-D8F2-9995-C58544852652}"/>
              </a:ext>
            </a:extLst>
          </p:cNvPr>
          <p:cNvSpPr txBox="1"/>
          <p:nvPr/>
        </p:nvSpPr>
        <p:spPr>
          <a:xfrm>
            <a:off x="7552149" y="2117503"/>
            <a:ext cx="4633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220A6B1-FF5E-63D0-FA9C-03F5413641D9}"/>
              </a:ext>
            </a:extLst>
          </p:cNvPr>
          <p:cNvSpPr txBox="1"/>
          <p:nvPr/>
        </p:nvSpPr>
        <p:spPr>
          <a:xfrm>
            <a:off x="474850" y="2938161"/>
            <a:ext cx="18732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i="1" err="1">
                <a:latin typeface="+mj-lt"/>
              </a:rPr>
              <a:t>sku_id</a:t>
            </a:r>
            <a:r>
              <a:rPr lang="en-GB" sz="800" i="1">
                <a:latin typeface="+mj-lt"/>
              </a:rPr>
              <a:t> = 216419</a:t>
            </a:r>
          </a:p>
          <a:p>
            <a:r>
              <a:rPr lang="en-GB" sz="800" i="1" err="1">
                <a:latin typeface="+mj-lt"/>
              </a:rPr>
              <a:t>store_id</a:t>
            </a:r>
            <a:r>
              <a:rPr lang="en-GB" sz="800" i="1">
                <a:latin typeface="+mj-lt"/>
              </a:rPr>
              <a:t> = 8091</a:t>
            </a: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789CA2B8-0B53-725E-2561-773246CD8117}"/>
              </a:ext>
            </a:extLst>
          </p:cNvPr>
          <p:cNvSpPr/>
          <p:nvPr/>
        </p:nvSpPr>
        <p:spPr>
          <a:xfrm>
            <a:off x="4251682" y="6561104"/>
            <a:ext cx="2077134" cy="296896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PREPARTION</a:t>
            </a: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997D03A1-4FE7-CCEA-73DD-1B36F16C2023}"/>
              </a:ext>
            </a:extLst>
          </p:cNvPr>
          <p:cNvSpPr/>
          <p:nvPr/>
        </p:nvSpPr>
        <p:spPr>
          <a:xfrm>
            <a:off x="6215940" y="6561469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ODEL EVALUATION &amp; PREDICTION</a:t>
            </a: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68BA852D-6F7A-E3AD-90F2-180E0817BF3A}"/>
              </a:ext>
            </a:extLst>
          </p:cNvPr>
          <p:cNvSpPr/>
          <p:nvPr/>
        </p:nvSpPr>
        <p:spPr>
          <a:xfrm>
            <a:off x="8180198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INVENTORY REPLENISHMENT</a:t>
            </a:r>
          </a:p>
        </p:txBody>
      </p: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C23AA632-B039-AD35-6679-4109E86208A5}"/>
              </a:ext>
            </a:extLst>
          </p:cNvPr>
          <p:cNvSpPr/>
          <p:nvPr/>
        </p:nvSpPr>
        <p:spPr>
          <a:xfrm>
            <a:off x="10144455" y="6561104"/>
            <a:ext cx="2047545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BENEFITS TO EBs and TBH</a:t>
            </a: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B369D27F-BDFA-649F-4EFB-5D0EE4D97DD0}"/>
              </a:ext>
            </a:extLst>
          </p:cNvPr>
          <p:cNvSpPr/>
          <p:nvPr/>
        </p:nvSpPr>
        <p:spPr>
          <a:xfrm>
            <a:off x="2287424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ETHOD COMPARISON &amp; DATA</a:t>
            </a:r>
          </a:p>
        </p:txBody>
      </p:sp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1196ADF8-06BE-BDCC-8104-9F34B608D8A1}"/>
              </a:ext>
            </a:extLst>
          </p:cNvPr>
          <p:cNvSpPr/>
          <p:nvPr/>
        </p:nvSpPr>
        <p:spPr>
          <a:xfrm>
            <a:off x="0" y="6565900"/>
            <a:ext cx="2400300" cy="2921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PAIN POINTS/GAPS</a:t>
            </a:r>
          </a:p>
        </p:txBody>
      </p:sp>
    </p:spTree>
    <p:extLst>
      <p:ext uri="{BB962C8B-B14F-4D97-AF65-F5344CB8AC3E}">
        <p14:creationId xmlns:p14="http://schemas.microsoft.com/office/powerpoint/2010/main" val="40306507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38D0DE0-522F-29B0-8202-964439F707B1}"/>
              </a:ext>
            </a:extLst>
          </p:cNvPr>
          <p:cNvSpPr txBox="1">
            <a:spLocks/>
          </p:cNvSpPr>
          <p:nvPr/>
        </p:nvSpPr>
        <p:spPr>
          <a:xfrm>
            <a:off x="510271" y="459609"/>
            <a:ext cx="10933350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DATA </a:t>
            </a:r>
            <a:r>
              <a:rPr kumimoji="0" lang="en-IN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PREPARATION</a:t>
            </a:r>
            <a:endParaRPr lang="en-IN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6FC4232-D1D6-25E3-D056-D650E3A99B6C}"/>
              </a:ext>
            </a:extLst>
          </p:cNvPr>
          <p:cNvGrpSpPr/>
          <p:nvPr/>
        </p:nvGrpSpPr>
        <p:grpSpPr>
          <a:xfrm>
            <a:off x="255663" y="1787557"/>
            <a:ext cx="3111993" cy="1144155"/>
            <a:chOff x="255663" y="1787557"/>
            <a:chExt cx="3111993" cy="1144155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3C6A8DA0-7B03-3076-4470-6677CD1FC00A}"/>
                </a:ext>
              </a:extLst>
            </p:cNvPr>
            <p:cNvSpPr/>
            <p:nvPr/>
          </p:nvSpPr>
          <p:spPr>
            <a:xfrm>
              <a:off x="482407" y="2186018"/>
              <a:ext cx="2885249" cy="745694"/>
            </a:xfrm>
            <a:prstGeom prst="round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>
                  <a:solidFill>
                    <a:schemeClr val="tx1"/>
                  </a:solidFill>
                </a:rPr>
                <a:t>LOG TRANSFORMATION</a:t>
              </a:r>
            </a:p>
            <a:p>
              <a:pPr algn="ctr"/>
              <a:r>
                <a:rPr lang="en-GB" sz="1200" i="1">
                  <a:solidFill>
                    <a:schemeClr val="accent1">
                      <a:lumMod val="75000"/>
                    </a:schemeClr>
                  </a:solidFill>
                </a:rPr>
                <a:t>Normalization for better predictions by treating skewnes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3DDF402-EE1A-546C-89D4-4F3AAB519CCE}"/>
                </a:ext>
              </a:extLst>
            </p:cNvPr>
            <p:cNvSpPr txBox="1"/>
            <p:nvPr/>
          </p:nvSpPr>
          <p:spPr>
            <a:xfrm>
              <a:off x="255663" y="1787557"/>
              <a:ext cx="463348" cy="856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4000" b="1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+mj-lt"/>
                </a:rPr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63D4153-E14C-10FA-D33C-DA33075056BB}"/>
              </a:ext>
            </a:extLst>
          </p:cNvPr>
          <p:cNvGrpSpPr/>
          <p:nvPr/>
        </p:nvGrpSpPr>
        <p:grpSpPr>
          <a:xfrm>
            <a:off x="239230" y="2829610"/>
            <a:ext cx="3128426" cy="1144155"/>
            <a:chOff x="239230" y="2834912"/>
            <a:chExt cx="3128426" cy="1144155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B49178FC-DD46-75EC-2D11-C4B382F54916}"/>
                </a:ext>
              </a:extLst>
            </p:cNvPr>
            <p:cNvSpPr/>
            <p:nvPr/>
          </p:nvSpPr>
          <p:spPr>
            <a:xfrm>
              <a:off x="482407" y="3233373"/>
              <a:ext cx="2885249" cy="745694"/>
            </a:xfrm>
            <a:prstGeom prst="round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>
                  <a:solidFill>
                    <a:schemeClr val="tx1"/>
                  </a:solidFill>
                </a:rPr>
                <a:t>REMOVED OUTLIERS</a:t>
              </a:r>
            </a:p>
            <a:p>
              <a:pPr algn="ctr"/>
              <a:r>
                <a:rPr lang="el-GR" sz="1600" b="1" i="0">
                  <a:solidFill>
                    <a:srgbClr val="202124"/>
                  </a:solidFill>
                  <a:effectLst/>
                  <a:latin typeface="Google Sans"/>
                </a:rPr>
                <a:t>μ</a:t>
              </a:r>
              <a:r>
                <a:rPr lang="en-GB" sz="1600" b="1" i="0">
                  <a:solidFill>
                    <a:srgbClr val="202124"/>
                  </a:solidFill>
                  <a:effectLst/>
                  <a:latin typeface="Google Sans"/>
                </a:rPr>
                <a:t> </a:t>
              </a:r>
              <a:r>
                <a:rPr lang="en-GB" sz="1600">
                  <a:solidFill>
                    <a:schemeClr val="tx1"/>
                  </a:solidFill>
                </a:rPr>
                <a:t>+/- 3</a:t>
              </a:r>
              <a:r>
                <a:rPr lang="el-GR" sz="1600" b="1" i="0">
                  <a:solidFill>
                    <a:srgbClr val="202124"/>
                  </a:solidFill>
                  <a:effectLst/>
                  <a:latin typeface="Google Sans"/>
                </a:rPr>
                <a:t>σ</a:t>
              </a:r>
              <a:endParaRPr lang="en-GB" sz="1600" b="1" i="0">
                <a:solidFill>
                  <a:srgbClr val="202124"/>
                </a:solidFill>
                <a:effectLst/>
                <a:latin typeface="Google San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32A248B-20D3-0314-FB12-E5A7F557598F}"/>
                </a:ext>
              </a:extLst>
            </p:cNvPr>
            <p:cNvSpPr txBox="1"/>
            <p:nvPr/>
          </p:nvSpPr>
          <p:spPr>
            <a:xfrm>
              <a:off x="239230" y="2834912"/>
              <a:ext cx="463348" cy="856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4000" b="1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+mj-lt"/>
                </a:rPr>
                <a:t>2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C279C2D-3B2D-6356-06CE-78B1BB9E7664}"/>
              </a:ext>
            </a:extLst>
          </p:cNvPr>
          <p:cNvGrpSpPr/>
          <p:nvPr/>
        </p:nvGrpSpPr>
        <p:grpSpPr>
          <a:xfrm>
            <a:off x="239230" y="3871663"/>
            <a:ext cx="3116922" cy="1139084"/>
            <a:chOff x="239230" y="3887338"/>
            <a:chExt cx="3116922" cy="1139084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EB6620F3-097D-3613-53A4-2ED7A0BE74DE}"/>
                </a:ext>
              </a:extLst>
            </p:cNvPr>
            <p:cNvSpPr/>
            <p:nvPr/>
          </p:nvSpPr>
          <p:spPr>
            <a:xfrm>
              <a:off x="470903" y="4280728"/>
              <a:ext cx="2885249" cy="745694"/>
            </a:xfrm>
            <a:prstGeom prst="round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>
                  <a:solidFill>
                    <a:schemeClr val="tx1"/>
                  </a:solidFill>
                </a:rPr>
                <a:t>INTRODUCED FEATURES</a:t>
              </a:r>
            </a:p>
            <a:p>
              <a:pPr algn="ctr"/>
              <a:r>
                <a:rPr lang="en-GB" sz="1200" i="1">
                  <a:solidFill>
                    <a:schemeClr val="accent1">
                      <a:lumMod val="75000"/>
                    </a:schemeClr>
                  </a:solidFill>
                </a:rPr>
                <a:t>Accounting for seasonality in data and discount as another variable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DB6E740-6DDA-D5F9-221A-4DAFA7FA8C0B}"/>
                </a:ext>
              </a:extLst>
            </p:cNvPr>
            <p:cNvSpPr txBox="1"/>
            <p:nvPr/>
          </p:nvSpPr>
          <p:spPr>
            <a:xfrm>
              <a:off x="239230" y="3887338"/>
              <a:ext cx="463348" cy="856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4000" b="1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+mj-lt"/>
                </a:rPr>
                <a:t>3</a:t>
              </a:r>
            </a:p>
          </p:txBody>
        </p:sp>
      </p:grp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3324B2D2-E19D-3E11-7E43-998788228B8A}"/>
              </a:ext>
            </a:extLst>
          </p:cNvPr>
          <p:cNvSpPr/>
          <p:nvPr/>
        </p:nvSpPr>
        <p:spPr>
          <a:xfrm>
            <a:off x="1365812" y="1238489"/>
            <a:ext cx="3240912" cy="590309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DATA CLEANING</a:t>
            </a: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7390529C-AD87-07EC-4CCA-06A7F78B2A9D}"/>
              </a:ext>
            </a:extLst>
          </p:cNvPr>
          <p:cNvSpPr/>
          <p:nvPr/>
        </p:nvSpPr>
        <p:spPr>
          <a:xfrm>
            <a:off x="4354009" y="1238488"/>
            <a:ext cx="3240912" cy="590309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DATA UNDERSTANDING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8852DF76-7039-6A1D-4C0B-2989FE7A2E32}"/>
              </a:ext>
            </a:extLst>
          </p:cNvPr>
          <p:cNvSpPr/>
          <p:nvPr/>
        </p:nvSpPr>
        <p:spPr>
          <a:xfrm>
            <a:off x="7342206" y="1238487"/>
            <a:ext cx="3240912" cy="590309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DATA PROCESSING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A4C2405-7FDA-36BB-5F2C-EB9C7664F2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6369" y="2680187"/>
            <a:ext cx="4109904" cy="2193630"/>
          </a:xfrm>
          <a:prstGeom prst="rect">
            <a:avLst/>
          </a:prstGeom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DD52294C-1368-75DD-B79B-BB47E00BF0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95"/>
          <a:stretch/>
        </p:blipFill>
        <p:spPr bwMode="auto">
          <a:xfrm>
            <a:off x="3627105" y="2573763"/>
            <a:ext cx="3920768" cy="2810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94DE3A-EAC0-507A-DBAB-22F33C98DA10}"/>
              </a:ext>
            </a:extLst>
          </p:cNvPr>
          <p:cNvSpPr txBox="1"/>
          <p:nvPr/>
        </p:nvSpPr>
        <p:spPr>
          <a:xfrm>
            <a:off x="3959361" y="2117504"/>
            <a:ext cx="4633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78E9521-1B1E-40FC-8985-106E34889E9A}"/>
              </a:ext>
            </a:extLst>
          </p:cNvPr>
          <p:cNvSpPr txBox="1"/>
          <p:nvPr/>
        </p:nvSpPr>
        <p:spPr>
          <a:xfrm>
            <a:off x="3806955" y="5336863"/>
            <a:ext cx="32293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u="sng">
                <a:latin typeface="+mj-lt"/>
              </a:rPr>
              <a:t>SKEWNESS</a:t>
            </a:r>
            <a:r>
              <a:rPr lang="en-GB" sz="1400">
                <a:latin typeface="+mj-lt"/>
              </a:rPr>
              <a:t>: </a:t>
            </a:r>
            <a:r>
              <a:rPr lang="en-IN" sz="1400">
                <a:latin typeface="+mj-lt"/>
              </a:rPr>
              <a:t>-0.457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0F0C619-8785-C50A-1738-A6B2F36618E7}"/>
              </a:ext>
            </a:extLst>
          </p:cNvPr>
          <p:cNvSpPr txBox="1"/>
          <p:nvPr/>
        </p:nvSpPr>
        <p:spPr>
          <a:xfrm>
            <a:off x="7462794" y="2097997"/>
            <a:ext cx="4633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F7DBEF-1129-6C22-AB52-B23D55DE074D}"/>
              </a:ext>
            </a:extLst>
          </p:cNvPr>
          <p:cNvSpPr txBox="1"/>
          <p:nvPr/>
        </p:nvSpPr>
        <p:spPr>
          <a:xfrm>
            <a:off x="3806955" y="5975487"/>
            <a:ext cx="32293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u="sng">
                <a:latin typeface="+mj-lt"/>
              </a:rPr>
              <a:t>Transformation</a:t>
            </a:r>
            <a:r>
              <a:rPr lang="en-GB" sz="1400">
                <a:latin typeface="+mj-lt"/>
              </a:rPr>
              <a:t>: </a:t>
            </a:r>
            <a:r>
              <a:rPr lang="en-GB" sz="1400">
                <a:solidFill>
                  <a:schemeClr val="accent1">
                    <a:lumMod val="75000"/>
                  </a:schemeClr>
                </a:solidFill>
                <a:latin typeface="+mj-lt"/>
              </a:rPr>
              <a:t>Normalized </a:t>
            </a:r>
            <a:r>
              <a:rPr lang="en-GB" sz="1400">
                <a:latin typeface="+mj-lt"/>
              </a:rPr>
              <a:t>the curv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81236C2-3351-A598-6859-A5F7BF764889}"/>
              </a:ext>
            </a:extLst>
          </p:cNvPr>
          <p:cNvSpPr txBox="1"/>
          <p:nvPr/>
        </p:nvSpPr>
        <p:spPr>
          <a:xfrm>
            <a:off x="7547873" y="5928025"/>
            <a:ext cx="36154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u="sng">
                <a:latin typeface="+mj-lt"/>
              </a:rPr>
              <a:t>Features introduced</a:t>
            </a:r>
            <a:r>
              <a:rPr lang="en-GB" sz="1400">
                <a:latin typeface="+mj-lt"/>
              </a:rPr>
              <a:t>: month, year, </a:t>
            </a:r>
            <a:r>
              <a:rPr lang="en-GB" sz="1400" err="1">
                <a:latin typeface="+mj-lt"/>
              </a:rPr>
              <a:t>day_of_week</a:t>
            </a:r>
            <a:r>
              <a:rPr lang="en-GB" sz="1400">
                <a:latin typeface="+mj-lt"/>
              </a:rPr>
              <a:t>, </a:t>
            </a:r>
            <a:r>
              <a:rPr lang="en-GB" sz="1400" err="1">
                <a:latin typeface="+mj-lt"/>
              </a:rPr>
              <a:t>day_of_month</a:t>
            </a:r>
            <a:r>
              <a:rPr lang="en-GB" sz="1400">
                <a:latin typeface="+mj-lt"/>
              </a:rPr>
              <a:t>, discount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7115CBF-BA5F-25B1-05E4-D03C64154E89}"/>
              </a:ext>
            </a:extLst>
          </p:cNvPr>
          <p:cNvGrpSpPr/>
          <p:nvPr/>
        </p:nvGrpSpPr>
        <p:grpSpPr>
          <a:xfrm>
            <a:off x="239228" y="4908645"/>
            <a:ext cx="3116923" cy="1083713"/>
            <a:chOff x="239228" y="4908645"/>
            <a:chExt cx="3116923" cy="1083713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D098D4F2-10F7-A27A-388D-51E4FF95F232}"/>
                </a:ext>
              </a:extLst>
            </p:cNvPr>
            <p:cNvSpPr/>
            <p:nvPr/>
          </p:nvSpPr>
          <p:spPr>
            <a:xfrm>
              <a:off x="470902" y="5246664"/>
              <a:ext cx="2885249" cy="745694"/>
            </a:xfrm>
            <a:prstGeom prst="round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>
                  <a:solidFill>
                    <a:schemeClr val="tx1"/>
                  </a:solidFill>
                </a:rPr>
                <a:t>DIVIDED INTO TRAIN &amp; TEST</a:t>
              </a:r>
            </a:p>
            <a:p>
              <a:pPr algn="ctr"/>
              <a:r>
                <a:rPr lang="en-GB" sz="1200" i="1">
                  <a:solidFill>
                    <a:schemeClr val="accent1">
                      <a:lumMod val="75000"/>
                    </a:schemeClr>
                  </a:solidFill>
                </a:rPr>
                <a:t>80% - train (4680 weeks*);</a:t>
              </a:r>
            </a:p>
            <a:p>
              <a:pPr algn="ctr"/>
              <a:r>
                <a:rPr lang="en-GB" sz="1200" i="1">
                  <a:solidFill>
                    <a:schemeClr val="accent1">
                      <a:lumMod val="75000"/>
                    </a:schemeClr>
                  </a:solidFill>
                </a:rPr>
                <a:t>20% - test (1170 weeks*)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E561D7D-1008-A291-C008-258DC57E8115}"/>
                </a:ext>
              </a:extLst>
            </p:cNvPr>
            <p:cNvSpPr txBox="1"/>
            <p:nvPr/>
          </p:nvSpPr>
          <p:spPr>
            <a:xfrm>
              <a:off x="239228" y="4908645"/>
              <a:ext cx="46334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4000" b="1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+mj-lt"/>
                </a:rPr>
                <a:t>4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E5D90DCA-4556-CAAD-7202-555C8C21B8B2}"/>
              </a:ext>
            </a:extLst>
          </p:cNvPr>
          <p:cNvSpPr txBox="1"/>
          <p:nvPr/>
        </p:nvSpPr>
        <p:spPr>
          <a:xfrm>
            <a:off x="1726091" y="5978811"/>
            <a:ext cx="1641565" cy="21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00" i="1">
                <a:latin typeface="+mj-lt"/>
              </a:rPr>
              <a:t>*For the selected </a:t>
            </a:r>
            <a:r>
              <a:rPr lang="en-GB" sz="800" i="1" err="1">
                <a:latin typeface="+mj-lt"/>
              </a:rPr>
              <a:t>sku</a:t>
            </a:r>
            <a:r>
              <a:rPr lang="en-GB" sz="800" i="1">
                <a:latin typeface="+mj-lt"/>
              </a:rPr>
              <a:t> and store</a:t>
            </a:r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BA527AD8-6B5B-F743-3201-5320158814B2}"/>
              </a:ext>
            </a:extLst>
          </p:cNvPr>
          <p:cNvSpPr/>
          <p:nvPr/>
        </p:nvSpPr>
        <p:spPr>
          <a:xfrm>
            <a:off x="4251682" y="6561104"/>
            <a:ext cx="2077134" cy="296896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DATA PREPARTION</a:t>
            </a:r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EC4177BE-5F61-AB89-4E97-CC7279BE842E}"/>
              </a:ext>
            </a:extLst>
          </p:cNvPr>
          <p:cNvSpPr/>
          <p:nvPr/>
        </p:nvSpPr>
        <p:spPr>
          <a:xfrm>
            <a:off x="6215940" y="6561469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ODEL EVALUATION &amp; PREDICTION</a:t>
            </a:r>
          </a:p>
        </p:txBody>
      </p:sp>
      <p:sp>
        <p:nvSpPr>
          <p:cNvPr id="32" name="Arrow: Chevron 31">
            <a:extLst>
              <a:ext uri="{FF2B5EF4-FFF2-40B4-BE49-F238E27FC236}">
                <a16:creationId xmlns:a16="http://schemas.microsoft.com/office/drawing/2014/main" id="{DA066CC1-EFBA-06AC-7CD5-CF29055FDB4F}"/>
              </a:ext>
            </a:extLst>
          </p:cNvPr>
          <p:cNvSpPr/>
          <p:nvPr/>
        </p:nvSpPr>
        <p:spPr>
          <a:xfrm>
            <a:off x="8180198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INVENTORY REPLENISHMENT</a:t>
            </a:r>
          </a:p>
        </p:txBody>
      </p:sp>
      <p:sp>
        <p:nvSpPr>
          <p:cNvPr id="33" name="Arrow: Chevron 32">
            <a:extLst>
              <a:ext uri="{FF2B5EF4-FFF2-40B4-BE49-F238E27FC236}">
                <a16:creationId xmlns:a16="http://schemas.microsoft.com/office/drawing/2014/main" id="{87AB35F6-7EDD-61AE-475F-716C66D7B341}"/>
              </a:ext>
            </a:extLst>
          </p:cNvPr>
          <p:cNvSpPr/>
          <p:nvPr/>
        </p:nvSpPr>
        <p:spPr>
          <a:xfrm>
            <a:off x="10144455" y="6561104"/>
            <a:ext cx="2047545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BENEFITS TO EBs and TBH</a:t>
            </a:r>
          </a:p>
        </p:txBody>
      </p:sp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60FF31F0-5AD0-BB32-E0FD-CDF54DBDF47D}"/>
              </a:ext>
            </a:extLst>
          </p:cNvPr>
          <p:cNvSpPr/>
          <p:nvPr/>
        </p:nvSpPr>
        <p:spPr>
          <a:xfrm>
            <a:off x="2287424" y="6561104"/>
            <a:ext cx="2077134" cy="29689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METHOD COMPARISON &amp; DATA</a:t>
            </a:r>
          </a:p>
        </p:txBody>
      </p:sp>
      <p:sp>
        <p:nvSpPr>
          <p:cNvPr id="35" name="Arrow: Pentagon 34">
            <a:extLst>
              <a:ext uri="{FF2B5EF4-FFF2-40B4-BE49-F238E27FC236}">
                <a16:creationId xmlns:a16="http://schemas.microsoft.com/office/drawing/2014/main" id="{17D4209B-CCAB-5D48-70BE-5CCBDD492395}"/>
              </a:ext>
            </a:extLst>
          </p:cNvPr>
          <p:cNvSpPr/>
          <p:nvPr/>
        </p:nvSpPr>
        <p:spPr>
          <a:xfrm>
            <a:off x="0" y="6565900"/>
            <a:ext cx="2400300" cy="2921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PAIN POINTS/GAPS</a:t>
            </a:r>
          </a:p>
        </p:txBody>
      </p:sp>
    </p:spTree>
    <p:extLst>
      <p:ext uri="{BB962C8B-B14F-4D97-AF65-F5344CB8AC3E}">
        <p14:creationId xmlns:p14="http://schemas.microsoft.com/office/powerpoint/2010/main" val="36660033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O.ZcjzfejO9p8pKJgZx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8558569-471c-4915-bc71-93661c323863_Elemen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8558569-471c-4915-bc71-93661c323863_Elemen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8558569-471c-4915-bc71-93661c323863_Elemen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8558569-471c-4915-bc71-93661c323863_Elemen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8558569-471c-4915-bc71-93661c323863_Elemen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8558569-471c-4915-bc71-93661c323863_Elemen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8558569-471c-4915-bc71-93661c323863_Elemen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8558569-471c-4915-bc71-93661c323863_Elemen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8558569-471c-4915-bc71-93661c323863_Elemen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8558569-471c-4915-bc71-93661c323863_Elemen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8558569-471c-4915-bc71-93661c323863_Elemen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YFpZkAne7KzPkPGSPU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S14JdbI3tAkuYCwmfh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DBuFotHWq4Hi5CJD1X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w2oClJq04lAmPP4SOcJ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OMKpyIrEVbHpRIi0086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B_Birb4elUYk1N2YsuL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3ibMoghjim6p2t9HIZd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oc0P_SwBoPThlQHaTD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MNoYQ3qyvc4mAl9Ul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cH8T9ovlymr8vtrVr5_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KO8IeYIbmU9XKctmZOn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PRuQQAoxWSd18wOqgM.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hULAOoBmb86vf5rbFh_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QF8MOlQBN495iwkb8W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gin1LnlASy2c8_RU73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EGd7KAgW5uwmLN7Mvjl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5g6rvaTt2SNxfrVl2bR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BOuVzwXtVHMKkrAeWS9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ix9OLIUjn6pR7CE.Qi8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hADvjONUr6BbehZjucM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qcj7nXtgkhb_EnfuN64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yh9szf7uazIvhRQmoZL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BDG7YqL19NRvCi04hoj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edEqCwB4dn13j6R.tbb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_QpG7Wcw0.UcxwIwtno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_G27WeaJMy3HAQAiXes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4mam8awScjfEMwlXb.k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AUnhcs5wx_Zm1BG79XU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1_6S38PlpboPIzzgHlg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EKwX1H5Zd4QdFlGdnlH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Tw0t5_0KyeS2JxYIjM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wtCEZoRZUxDXYuzSBBR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7SSGq6ooYkTP288mu3u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kqJvlaeY0w8nQS7Q8Jd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HBKZIpIcuNkCirprk.I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cL7muAohp56ID06h6XR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OMKpyIrEVbHpRIi0086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cf1447-20b0-491a-bf48-ae06019bb231_Topic"/>
  <p:tag name="EE4P_AGENDAWIZARD_CONTENT" val="/Enabling the vision"/>
  <p:tag name="EE4P_AGENDAWIZARD_PROPERTIES" val="406.8057/326.9848/313.0778/30.3889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cf1447-20b0-491a-bf48-ae06019bb231_Topic"/>
  <p:tag name="EE4P_AGENDAWIZARD_CONTENT" val="/Enabling the vision"/>
  <p:tag name="EE4P_AGENDAWIZARD_PROPERTIES" val="406.8057/326.9848/313.0778/30.388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cf1447-20b0-491a-bf48-ae06019bb231_Topic"/>
  <p:tag name="EE4P_AGENDAWIZARD_CONTENT" val="/Enabling the vision"/>
  <p:tag name="EE4P_AGENDAWIZARD_PROPERTIES" val="406.8057/326.9848/313.0778/30.3889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cf1447-20b0-491a-bf48-ae06019bb231_Topic"/>
  <p:tag name="EE4P_AGENDAWIZARD_CONTENT" val="/Enabling the vision"/>
  <p:tag name="EE4P_AGENDAWIZARD_PROPERTIES" val="406.8057/326.9848/313.0778/30.3889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cf1447-20b0-491a-bf48-ae06019bb231_Topic"/>
  <p:tag name="EE4P_AGENDAWIZARD_CONTENT" val="/Enabling the vision"/>
  <p:tag name="EE4P_AGENDAWIZARD_PROPERTIES" val="406.8057/326.9848/313.0778/30.3889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cf1447-20b0-491a-bf48-ae06019bb231_Topic"/>
  <p:tag name="EE4P_AGENDAWIZARD_CONTENT" val="/Enabling the vision"/>
  <p:tag name="EE4P_AGENDAWIZARD_PROPERTIES" val="406.8057/326.9848/313.0778/30.3889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cf1447-20b0-491a-bf48-ae06019bb231_Topic"/>
  <p:tag name="EE4P_AGENDAWIZARD_CONTENT" val="/Enabling the vision"/>
  <p:tag name="EE4P_AGENDAWIZARD_PROPERTIES" val="406.8057/326.9848/313.0778/30.3889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cf1447-20b0-491a-bf48-ae06019bb231_Topic"/>
  <p:tag name="EE4P_AGENDAWIZARD_CONTENT" val="/Enabling the vision"/>
  <p:tag name="EE4P_AGENDAWIZARD_PROPERTIES" val="406.8057/326.9848/313.0778/30.3889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cf1447-20b0-491a-bf48-ae06019bb231_Topic"/>
  <p:tag name="EE4P_AGENDAWIZARD_CONTENT" val="/Enabling the vision"/>
  <p:tag name="EE4P_AGENDAWIZARD_PROPERTIES" val="406.8057/326.9848/313.0778/30.3889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cf1447-20b0-491a-bf48-ae06019bb231_Topic"/>
  <p:tag name="EE4P_AGENDAWIZARD_CONTENT" val="/Enabling the vision"/>
  <p:tag name="EE4P_AGENDAWIZARD_PROPERTIES" val="406.8057/326.9848/313.0778/30.3889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7cf1447-20b0-491a-bf48-ae06019bb231_Topic"/>
  <p:tag name="EE4P_AGENDAWIZARD_CONTENT" val="/Enabling the vision"/>
  <p:tag name="EE4P_AGENDAWIZARD_PROPERTIES" val="406.8057/326.9848/313.0778/30.388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8558569-471c-4915-bc71-93661c323863_Elemen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8558569-471c-4915-bc71-93661c323863_Elemen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8558569-471c-4915-bc71-93661c323863_Elemen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8558569-471c-4915-bc71-93661c323863_Elemen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8558569-471c-4915-bc71-93661c323863_Element"/>
</p:tagLst>
</file>

<file path=ppt/theme/theme1.xml><?xml version="1.0" encoding="utf-8"?>
<a:theme xmlns:a="http://schemas.openxmlformats.org/drawingml/2006/main" name="Office Theme">
  <a:themeElements>
    <a:clrScheme name="nexarc colour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B00FA"/>
      </a:accent1>
      <a:accent2>
        <a:srgbClr val="ED7D31"/>
      </a:accent2>
      <a:accent3>
        <a:srgbClr val="FF0032"/>
      </a:accent3>
      <a:accent4>
        <a:srgbClr val="FF9595"/>
      </a:accent4>
      <a:accent5>
        <a:srgbClr val="FF4B00"/>
      </a:accent5>
      <a:accent6>
        <a:srgbClr val="FFC800"/>
      </a:accent6>
      <a:hlink>
        <a:srgbClr val="00AE4B"/>
      </a:hlink>
      <a:folHlink>
        <a:srgbClr val="FFEB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10212_nexarc_PowerPoint slides" id="{5ADD084B-79D5-704F-82B6-9D2B28FD9F28}" vid="{B8838BE8-99EF-8E4B-8122-827505FB23F6}"/>
    </a:ext>
  </a:extLst>
</a:theme>
</file>

<file path=ppt/theme/theme2.xml><?xml version="1.0" encoding="utf-8"?>
<a:theme xmlns:a="http://schemas.openxmlformats.org/drawingml/2006/main" name="BCG Grid 16:9">
  <a:themeElements>
    <a:clrScheme name="Nexarc">
      <a:dk1>
        <a:srgbClr val="59595C"/>
      </a:dk1>
      <a:lt1>
        <a:sysClr val="window" lastClr="FFFFFF"/>
      </a:lt1>
      <a:dk2>
        <a:srgbClr val="1E0A3C"/>
      </a:dk2>
      <a:lt2>
        <a:srgbClr val="F2F2F2"/>
      </a:lt2>
      <a:accent1>
        <a:srgbClr val="100521"/>
      </a:accent1>
      <a:accent2>
        <a:srgbClr val="1B0939"/>
      </a:accent2>
      <a:accent3>
        <a:srgbClr val="FDEC00"/>
      </a:accent3>
      <a:accent4>
        <a:srgbClr val="3F157D"/>
      </a:accent4>
      <a:accent5>
        <a:srgbClr val="595959"/>
      </a:accent5>
      <a:accent6>
        <a:srgbClr val="28FFC8"/>
      </a:accent6>
      <a:hlink>
        <a:srgbClr val="D35AFD"/>
      </a:hlink>
      <a:folHlink>
        <a:srgbClr val="D35AFD"/>
      </a:folHlink>
    </a:clrScheme>
    <a:fontScheme name="Nexarc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7F7F7F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1_BCG Grid 16:9">
  <a:themeElements>
    <a:clrScheme name="Nexarc">
      <a:dk1>
        <a:srgbClr val="59595C"/>
      </a:dk1>
      <a:lt1>
        <a:sysClr val="window" lastClr="FFFFFF"/>
      </a:lt1>
      <a:dk2>
        <a:srgbClr val="1E0A3C"/>
      </a:dk2>
      <a:lt2>
        <a:srgbClr val="F2F2F2"/>
      </a:lt2>
      <a:accent1>
        <a:srgbClr val="100521"/>
      </a:accent1>
      <a:accent2>
        <a:srgbClr val="1B0939"/>
      </a:accent2>
      <a:accent3>
        <a:srgbClr val="FDEC00"/>
      </a:accent3>
      <a:accent4>
        <a:srgbClr val="3F157D"/>
      </a:accent4>
      <a:accent5>
        <a:srgbClr val="595959"/>
      </a:accent5>
      <a:accent6>
        <a:srgbClr val="28FFC8"/>
      </a:accent6>
      <a:hlink>
        <a:srgbClr val="D35AFD"/>
      </a:hlink>
      <a:folHlink>
        <a:srgbClr val="D35A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7F7F7F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7A2D504A30D54E8E78371AA407BF4A" ma:contentTypeVersion="17" ma:contentTypeDescription="Create a new document." ma:contentTypeScope="" ma:versionID="0e8bc74b5db22d30b934d17bec4efebf">
  <xsd:schema xmlns:xsd="http://www.w3.org/2001/XMLSchema" xmlns:xs="http://www.w3.org/2001/XMLSchema" xmlns:p="http://schemas.microsoft.com/office/2006/metadata/properties" xmlns:ns2="8c013b44-f958-4a47-bab6-85ac6b221bf6" xmlns:ns3="cf7453dc-9e9d-4804-a01e-05ae109c1fbd" targetNamespace="http://schemas.microsoft.com/office/2006/metadata/properties" ma:root="true" ma:fieldsID="aa23ec38dd52bbab627c78237ef1e9e8" ns2:_="" ns3:_="">
    <xsd:import namespace="8c013b44-f958-4a47-bab6-85ac6b221bf6"/>
    <xsd:import namespace="cf7453dc-9e9d-4804-a01e-05ae109c1fb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About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013b44-f958-4a47-bab6-85ac6b221b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About" ma:index="14" nillable="true" ma:displayName="About" ma:format="Dropdown" ma:internalName="About">
      <xsd:simpleType>
        <xsd:restriction base="dms:Note">
          <xsd:maxLength value="255"/>
        </xsd:restriction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76328121-55fb-4382-8ecd-37c69a111f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7453dc-9e9d-4804-a01e-05ae109c1fbd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f3093df-07c6-4bca-be26-2e8176e36623}" ma:internalName="TaxCatchAll" ma:showField="CatchAllData" ma:web="cf7453dc-9e9d-4804-a01e-05ae109c1fb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bout xmlns="8c013b44-f958-4a47-bab6-85ac6b221bf6" xsi:nil="true"/>
    <TaxCatchAll xmlns="cf7453dc-9e9d-4804-a01e-05ae109c1fbd" xsi:nil="true"/>
    <lcf76f155ced4ddcb4097134ff3c332f xmlns="8c013b44-f958-4a47-bab6-85ac6b221bf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8BB7DB4-E970-45A0-BBCA-0E7C4ABA8E3E}">
  <ds:schemaRefs>
    <ds:schemaRef ds:uri="8c013b44-f958-4a47-bab6-85ac6b221bf6"/>
    <ds:schemaRef ds:uri="cf7453dc-9e9d-4804-a01e-05ae109c1fb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2524FFE-5EC0-4675-977A-344EABA06FB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5BAF3A6-BCD5-4D18-A689-12F7708FB12E}">
  <ds:schemaRefs>
    <ds:schemaRef ds:uri="8c013b44-f958-4a47-bab6-85ac6b221bf6"/>
    <ds:schemaRef ds:uri="cf7453dc-9e9d-4804-a01e-05ae109c1fb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301475f7-a1f0-40c3-8572-0b546cff224d}" enabled="1" method="Privileged" siteId="{985b9a1e-52d0-4cc1-9caf-3e50be2bc974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18</Slides>
  <Notes>16</Notes>
  <HiddenSlides>0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8</vt:i4>
      </vt:variant>
    </vt:vector>
  </HeadingPairs>
  <TitlesOfParts>
    <vt:vector size="21" baseType="lpstr">
      <vt:lpstr>Office Theme</vt:lpstr>
      <vt:lpstr>BCG Grid 16:9</vt:lpstr>
      <vt:lpstr>1_BCG Grid 16:9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epanshi Chaudhry</dc:creator>
  <cp:revision>1</cp:revision>
  <dcterms:created xsi:type="dcterms:W3CDTF">2021-05-08T01:43:19Z</dcterms:created>
  <dcterms:modified xsi:type="dcterms:W3CDTF">2024-02-22T12:0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7A2D504A30D54E8E78371AA407BF4A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bool>false</vt:bool>
  </property>
</Properties>
</file>